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1" r:id="rId4"/>
    <p:sldMasterId id="2147483861" r:id="rId5"/>
    <p:sldMasterId id="2147483876" r:id="rId6"/>
    <p:sldMasterId id="2147483730" r:id="rId7"/>
    <p:sldMasterId id="2147483872" r:id="rId8"/>
  </p:sldMasterIdLst>
  <p:notesMasterIdLst>
    <p:notesMasterId r:id="rId30"/>
  </p:notesMasterIdLst>
  <p:handoutMasterIdLst>
    <p:handoutMasterId r:id="rId31"/>
  </p:handoutMasterIdLst>
  <p:sldIdLst>
    <p:sldId id="603" r:id="rId9"/>
    <p:sldId id="257" r:id="rId10"/>
    <p:sldId id="604" r:id="rId11"/>
    <p:sldId id="605" r:id="rId12"/>
    <p:sldId id="258" r:id="rId13"/>
    <p:sldId id="278" r:id="rId14"/>
    <p:sldId id="280" r:id="rId15"/>
    <p:sldId id="286" r:id="rId16"/>
    <p:sldId id="606" r:id="rId17"/>
    <p:sldId id="263" r:id="rId18"/>
    <p:sldId id="281" r:id="rId19"/>
    <p:sldId id="607" r:id="rId20"/>
    <p:sldId id="608" r:id="rId21"/>
    <p:sldId id="283" r:id="rId22"/>
    <p:sldId id="609" r:id="rId23"/>
    <p:sldId id="678" r:id="rId24"/>
    <p:sldId id="610" r:id="rId25"/>
    <p:sldId id="611" r:id="rId26"/>
    <p:sldId id="614" r:id="rId27"/>
    <p:sldId id="677" r:id="rId28"/>
    <p:sldId id="648" r:id="rId29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603"/>
            <p14:sldId id="257"/>
            <p14:sldId id="604"/>
            <p14:sldId id="605"/>
            <p14:sldId id="258"/>
            <p14:sldId id="278"/>
            <p14:sldId id="280"/>
            <p14:sldId id="286"/>
            <p14:sldId id="606"/>
            <p14:sldId id="263"/>
            <p14:sldId id="281"/>
            <p14:sldId id="607"/>
            <p14:sldId id="608"/>
            <p14:sldId id="283"/>
            <p14:sldId id="609"/>
            <p14:sldId id="678"/>
            <p14:sldId id="610"/>
            <p14:sldId id="611"/>
            <p14:sldId id="614"/>
            <p14:sldId id="677"/>
            <p14:sldId id="6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6" userDrawn="1">
          <p15:clr>
            <a:srgbClr val="A4A3A4"/>
          </p15:clr>
        </p15:guide>
        <p15:guide id="2" orient="horz" pos="2832" userDrawn="1">
          <p15:clr>
            <a:srgbClr val="A4A3A4"/>
          </p15:clr>
        </p15:guide>
        <p15:guide id="3" orient="horz" pos="3113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orient="horz" pos="3552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FF16"/>
    <a:srgbClr val="FF6327"/>
    <a:srgbClr val="88D5ED"/>
    <a:srgbClr val="005A82"/>
    <a:srgbClr val="0A8CB7"/>
    <a:srgbClr val="6EBBD4"/>
    <a:srgbClr val="FF7E83"/>
    <a:srgbClr val="893713"/>
    <a:srgbClr val="FF304C"/>
    <a:srgbClr val="2B0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42"/>
    <p:restoredTop sz="94741"/>
  </p:normalViewPr>
  <p:slideViewPr>
    <p:cSldViewPr snapToGrid="0" snapToObjects="1">
      <p:cViewPr varScale="1">
        <p:scale>
          <a:sx n="107" d="100"/>
          <a:sy n="107" d="100"/>
        </p:scale>
        <p:origin x="960" y="168"/>
      </p:cViewPr>
      <p:guideLst>
        <p:guide orient="horz" pos="2546"/>
        <p:guide orient="horz" pos="2832"/>
        <p:guide orient="horz" pos="3113"/>
        <p:guide orient="horz" pos="2160"/>
        <p:guide orient="horz" pos="355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image" Target="../media/image43.svg"/><Relationship Id="rId1" Type="http://schemas.openxmlformats.org/officeDocument/2006/relationships/image" Target="../media/image42.png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image" Target="../media/image64.jpeg"/><Relationship Id="rId4" Type="http://schemas.openxmlformats.org/officeDocument/2006/relationships/image" Target="../media/image67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image" Target="../media/image43.svg"/><Relationship Id="rId1" Type="http://schemas.openxmlformats.org/officeDocument/2006/relationships/image" Target="../media/image42.png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image" Target="../media/image64.jpeg"/><Relationship Id="rId4" Type="http://schemas.openxmlformats.org/officeDocument/2006/relationships/image" Target="../media/image6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A9B804-5BBF-1449-9442-D808FF573361}" type="doc">
      <dgm:prSet loTypeId="urn:microsoft.com/office/officeart/2005/8/layout/vList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238FAE84-A77A-554D-A741-AB70A38CB199}">
      <dgm:prSet custT="1"/>
      <dgm:spPr/>
      <dgm:t>
        <a:bodyPr/>
        <a:lstStyle/>
        <a:p>
          <a:pPr algn="ctr"/>
          <a:r>
            <a:rPr lang="en-US" sz="2000"/>
            <a:t>Features</a:t>
          </a:r>
          <a:endParaRPr lang="en-IN" sz="2000"/>
        </a:p>
      </dgm:t>
    </dgm:pt>
    <dgm:pt modelId="{ADDF8973-01A7-FA4B-9D4C-306A99EB7655}" type="parTrans" cxnId="{7AE2A93A-37A2-C84A-868D-D94638F27BC2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17A21066-4B8F-494F-A4C6-A6674B0C61DA}" type="sibTrans" cxnId="{7AE2A93A-37A2-C84A-868D-D94638F27BC2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99F88815-9478-364F-BCED-97C9F220FE9D}">
      <dgm:prSet custT="1"/>
      <dgm:spPr/>
      <dgm:t>
        <a:bodyPr/>
        <a:lstStyle/>
        <a:p>
          <a:pPr algn="ctr"/>
          <a:r>
            <a:rPr lang="en-US" sz="2000"/>
            <a:t>Authentication</a:t>
          </a:r>
          <a:endParaRPr lang="en-IN" sz="2000"/>
        </a:p>
      </dgm:t>
    </dgm:pt>
    <dgm:pt modelId="{CA7521F0-1774-8A4A-B7DF-598DCBEBD72B}" type="parTrans" cxnId="{3E79B12E-7EC0-E545-BA6F-2886B1AFED6D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7C7B5ECE-8685-4B43-9F5F-74A297A638FA}" type="sibTrans" cxnId="{3E79B12E-7EC0-E545-BA6F-2886B1AFED6D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7A69771B-D7CB-F045-AE8D-37223459DBD8}">
      <dgm:prSet custT="1"/>
      <dgm:spPr/>
      <dgm:t>
        <a:bodyPr/>
        <a:lstStyle/>
        <a:p>
          <a:pPr algn="ctr"/>
          <a:r>
            <a:rPr lang="en-US" sz="2000"/>
            <a:t>Authorization</a:t>
          </a:r>
          <a:endParaRPr lang="en-IN" sz="2000"/>
        </a:p>
      </dgm:t>
    </dgm:pt>
    <dgm:pt modelId="{21D4B3B2-BC76-5147-8EE7-8986123F88C7}" type="parTrans" cxnId="{38AAD67D-2559-274B-A646-8C5A1DB0A8CD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AD39180F-B5E9-294A-B72B-05067EE29DBA}" type="sibTrans" cxnId="{38AAD67D-2559-274B-A646-8C5A1DB0A8CD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0155389D-217A-4D43-8428-E26C6C8685B4}">
      <dgm:prSet custT="1"/>
      <dgm:spPr/>
      <dgm:t>
        <a:bodyPr/>
        <a:lstStyle/>
        <a:p>
          <a:pPr algn="ctr"/>
          <a:r>
            <a:rPr lang="en-US" sz="2000"/>
            <a:t>Exception Handling</a:t>
          </a:r>
          <a:endParaRPr lang="en-IN" sz="2000"/>
        </a:p>
      </dgm:t>
    </dgm:pt>
    <dgm:pt modelId="{23A8E873-FDA5-4544-9C8B-7BB409E23B3C}" type="parTrans" cxnId="{F1E4B5AC-F0EA-2640-90CC-F9B14811E76E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FC53131D-14BB-EA4B-9D51-A10977B41BD8}" type="sibTrans" cxnId="{F1E4B5AC-F0EA-2640-90CC-F9B14811E76E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30AEFC41-EDFB-AC40-A36D-6627229D7B8A}">
      <dgm:prSet custT="1"/>
      <dgm:spPr/>
      <dgm:t>
        <a:bodyPr/>
        <a:lstStyle/>
        <a:p>
          <a:pPr algn="ctr"/>
          <a:r>
            <a:rPr lang="en-US" sz="2000"/>
            <a:t>Common Security Threats</a:t>
          </a:r>
          <a:endParaRPr lang="en-IN" sz="2000"/>
        </a:p>
      </dgm:t>
    </dgm:pt>
    <dgm:pt modelId="{B4A5A49F-5FC1-0443-BFDE-90AC6DABA606}" type="parTrans" cxnId="{A6711C46-3D15-6E4A-BAFB-B12ECAFA13F5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E3139961-9567-ED48-B8D9-EFF091FB20DB}" type="sibTrans" cxnId="{A6711C46-3D15-6E4A-BAFB-B12ECAFA13F5}">
      <dgm:prSet/>
      <dgm:spPr/>
      <dgm:t>
        <a:bodyPr/>
        <a:lstStyle/>
        <a:p>
          <a:pPr algn="ctr"/>
          <a:endParaRPr lang="en-GB" sz="2000">
            <a:solidFill>
              <a:schemeClr val="bg1"/>
            </a:solidFill>
          </a:endParaRPr>
        </a:p>
      </dgm:t>
    </dgm:pt>
    <dgm:pt modelId="{9A980711-83EF-F542-8154-95AE27C2BC1D}">
      <dgm:prSet custT="1"/>
      <dgm:spPr/>
      <dgm:t>
        <a:bodyPr/>
        <a:lstStyle/>
        <a:p>
          <a:pPr algn="ctr"/>
          <a:r>
            <a:rPr lang="en-IN" sz="2000"/>
            <a:t>Architecture</a:t>
          </a:r>
        </a:p>
      </dgm:t>
    </dgm:pt>
    <dgm:pt modelId="{3C41BE42-9E76-D545-831B-2C79CC863658}" type="parTrans" cxnId="{5F5623E1-AA05-6A47-ACD9-379B2EE6AD93}">
      <dgm:prSet/>
      <dgm:spPr/>
      <dgm:t>
        <a:bodyPr/>
        <a:lstStyle/>
        <a:p>
          <a:endParaRPr lang="en-GB"/>
        </a:p>
      </dgm:t>
    </dgm:pt>
    <dgm:pt modelId="{CA607943-A811-7A4B-A1A4-495F49FBE361}" type="sibTrans" cxnId="{5F5623E1-AA05-6A47-ACD9-379B2EE6AD93}">
      <dgm:prSet/>
      <dgm:spPr/>
      <dgm:t>
        <a:bodyPr/>
        <a:lstStyle/>
        <a:p>
          <a:endParaRPr lang="en-GB"/>
        </a:p>
      </dgm:t>
    </dgm:pt>
    <dgm:pt modelId="{90C344A3-63A2-1A4E-840C-2B1623977D98}" type="pres">
      <dgm:prSet presAssocID="{EFA9B804-5BBF-1449-9442-D808FF573361}" presName="linearFlow" presStyleCnt="0">
        <dgm:presLayoutVars>
          <dgm:dir/>
          <dgm:resizeHandles val="exact"/>
        </dgm:presLayoutVars>
      </dgm:prSet>
      <dgm:spPr/>
    </dgm:pt>
    <dgm:pt modelId="{50FBE777-917F-D349-A67E-89A5ECC16628}" type="pres">
      <dgm:prSet presAssocID="{238FAE84-A77A-554D-A741-AB70A38CB199}" presName="composite" presStyleCnt="0"/>
      <dgm:spPr/>
    </dgm:pt>
    <dgm:pt modelId="{22BCDAF3-17CC-D141-B561-A3AF3C7A79B4}" type="pres">
      <dgm:prSet presAssocID="{238FAE84-A77A-554D-A741-AB70A38CB199}" presName="imgShp" presStyleLbl="fgImgPlac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6861AAB1-EC40-664D-A5A5-478B64344EFD}" type="pres">
      <dgm:prSet presAssocID="{238FAE84-A77A-554D-A741-AB70A38CB199}" presName="txShp" presStyleLbl="node1" presStyleIdx="0" presStyleCnt="6">
        <dgm:presLayoutVars>
          <dgm:bulletEnabled val="1"/>
        </dgm:presLayoutVars>
      </dgm:prSet>
      <dgm:spPr/>
    </dgm:pt>
    <dgm:pt modelId="{E7A30EAA-BABB-214D-8E87-5A1936FA25AA}" type="pres">
      <dgm:prSet presAssocID="{17A21066-4B8F-494F-A4C6-A6674B0C61DA}" presName="spacing" presStyleCnt="0"/>
      <dgm:spPr/>
    </dgm:pt>
    <dgm:pt modelId="{C762A262-7DCB-2747-8646-BDB41F51C261}" type="pres">
      <dgm:prSet presAssocID="{9A980711-83EF-F542-8154-95AE27C2BC1D}" presName="composite" presStyleCnt="0"/>
      <dgm:spPr/>
    </dgm:pt>
    <dgm:pt modelId="{067AC530-547E-2140-93C0-4B0D6EE1FF05}" type="pres">
      <dgm:prSet presAssocID="{9A980711-83EF-F542-8154-95AE27C2BC1D}" presName="imgShp" presStyleLbl="fgImgPlac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dge scene"/>
        </a:ext>
      </dgm:extLst>
    </dgm:pt>
    <dgm:pt modelId="{F08E700B-D9F7-A949-A88F-4716D0D14549}" type="pres">
      <dgm:prSet presAssocID="{9A980711-83EF-F542-8154-95AE27C2BC1D}" presName="txShp" presStyleLbl="node1" presStyleIdx="1" presStyleCnt="6">
        <dgm:presLayoutVars>
          <dgm:bulletEnabled val="1"/>
        </dgm:presLayoutVars>
      </dgm:prSet>
      <dgm:spPr/>
    </dgm:pt>
    <dgm:pt modelId="{120A528D-B3B9-5B42-B1C4-4A257038FF4E}" type="pres">
      <dgm:prSet presAssocID="{CA607943-A811-7A4B-A1A4-495F49FBE361}" presName="spacing" presStyleCnt="0"/>
      <dgm:spPr/>
    </dgm:pt>
    <dgm:pt modelId="{CC7DF50A-BFBD-F848-B642-972F5D7A6698}" type="pres">
      <dgm:prSet presAssocID="{99F88815-9478-364F-BCED-97C9F220FE9D}" presName="composite" presStyleCnt="0"/>
      <dgm:spPr/>
    </dgm:pt>
    <dgm:pt modelId="{68B66282-8FAB-1D46-BDF9-4B4DB43321D7}" type="pres">
      <dgm:prSet presAssocID="{99F88815-9478-364F-BCED-97C9F220FE9D}" presName="imgShp" presStyleLbl="fgImgPlac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ey"/>
        </a:ext>
      </dgm:extLst>
    </dgm:pt>
    <dgm:pt modelId="{2A7ED2B8-2C30-7244-A1EB-8DB5CF107027}" type="pres">
      <dgm:prSet presAssocID="{99F88815-9478-364F-BCED-97C9F220FE9D}" presName="txShp" presStyleLbl="node1" presStyleIdx="2" presStyleCnt="6">
        <dgm:presLayoutVars>
          <dgm:bulletEnabled val="1"/>
        </dgm:presLayoutVars>
      </dgm:prSet>
      <dgm:spPr/>
    </dgm:pt>
    <dgm:pt modelId="{BB4620A6-3B88-0A4F-915A-9B26C981B35D}" type="pres">
      <dgm:prSet presAssocID="{7C7B5ECE-8685-4B43-9F5F-74A297A638FA}" presName="spacing" presStyleCnt="0"/>
      <dgm:spPr/>
    </dgm:pt>
    <dgm:pt modelId="{71EBA8C0-7C6C-A148-B170-E7369FA26434}" type="pres">
      <dgm:prSet presAssocID="{7A69771B-D7CB-F045-AE8D-37223459DBD8}" presName="composite" presStyleCnt="0"/>
      <dgm:spPr/>
    </dgm:pt>
    <dgm:pt modelId="{19B0F145-CC96-8748-A9B8-189DE216D575}" type="pres">
      <dgm:prSet presAssocID="{7A69771B-D7CB-F045-AE8D-37223459DBD8}" presName="imgShp" presStyleLbl="fgImgPlac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mployee Badge"/>
        </a:ext>
      </dgm:extLst>
    </dgm:pt>
    <dgm:pt modelId="{CBC554A5-EBE0-474F-A1D9-56CE57A67F5C}" type="pres">
      <dgm:prSet presAssocID="{7A69771B-D7CB-F045-AE8D-37223459DBD8}" presName="txShp" presStyleLbl="node1" presStyleIdx="3" presStyleCnt="6">
        <dgm:presLayoutVars>
          <dgm:bulletEnabled val="1"/>
        </dgm:presLayoutVars>
      </dgm:prSet>
      <dgm:spPr/>
    </dgm:pt>
    <dgm:pt modelId="{72916D29-00D7-7143-9C91-641F5C32998B}" type="pres">
      <dgm:prSet presAssocID="{AD39180F-B5E9-294A-B72B-05067EE29DBA}" presName="spacing" presStyleCnt="0"/>
      <dgm:spPr/>
    </dgm:pt>
    <dgm:pt modelId="{E52EE969-C154-404E-89FE-8A5FD12D86A9}" type="pres">
      <dgm:prSet presAssocID="{0155389D-217A-4D43-8428-E26C6C8685B4}" presName="composite" presStyleCnt="0"/>
      <dgm:spPr/>
    </dgm:pt>
    <dgm:pt modelId="{9BEBCD04-3393-FD45-8178-572D8022A020}" type="pres">
      <dgm:prSet presAssocID="{0155389D-217A-4D43-8428-E26C6C8685B4}" presName="imgShp" presStyleLbl="fgImgPlac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09C1E1EA-FE8D-7B47-8937-4F68E5E2F1D0}" type="pres">
      <dgm:prSet presAssocID="{0155389D-217A-4D43-8428-E26C6C8685B4}" presName="txShp" presStyleLbl="node1" presStyleIdx="4" presStyleCnt="6">
        <dgm:presLayoutVars>
          <dgm:bulletEnabled val="1"/>
        </dgm:presLayoutVars>
      </dgm:prSet>
      <dgm:spPr/>
    </dgm:pt>
    <dgm:pt modelId="{E94D89D8-62D2-B246-A8EB-C6B4406DCA14}" type="pres">
      <dgm:prSet presAssocID="{FC53131D-14BB-EA4B-9D51-A10977B41BD8}" presName="spacing" presStyleCnt="0"/>
      <dgm:spPr/>
    </dgm:pt>
    <dgm:pt modelId="{00C046E7-C1DF-6D48-94D6-C329F4D347A7}" type="pres">
      <dgm:prSet presAssocID="{30AEFC41-EDFB-AC40-A36D-6627229D7B8A}" presName="composite" presStyleCnt="0"/>
      <dgm:spPr/>
    </dgm:pt>
    <dgm:pt modelId="{5FA9AA1E-AFC2-C141-AD7A-51D09AC94BDF}" type="pres">
      <dgm:prSet presAssocID="{30AEFC41-EDFB-AC40-A36D-6627229D7B8A}" presName="imgShp" presStyleLbl="fgImgPlac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nlock"/>
        </a:ext>
      </dgm:extLst>
    </dgm:pt>
    <dgm:pt modelId="{75792AEF-D9EF-C149-A641-597A2A7DBFD1}" type="pres">
      <dgm:prSet presAssocID="{30AEFC41-EDFB-AC40-A36D-6627229D7B8A}" presName="txShp" presStyleLbl="node1" presStyleIdx="5" presStyleCnt="6">
        <dgm:presLayoutVars>
          <dgm:bulletEnabled val="1"/>
        </dgm:presLayoutVars>
      </dgm:prSet>
      <dgm:spPr/>
    </dgm:pt>
  </dgm:ptLst>
  <dgm:cxnLst>
    <dgm:cxn modelId="{3E79B12E-7EC0-E545-BA6F-2886B1AFED6D}" srcId="{EFA9B804-5BBF-1449-9442-D808FF573361}" destId="{99F88815-9478-364F-BCED-97C9F220FE9D}" srcOrd="2" destOrd="0" parTransId="{CA7521F0-1774-8A4A-B7DF-598DCBEBD72B}" sibTransId="{7C7B5ECE-8685-4B43-9F5F-74A297A638FA}"/>
    <dgm:cxn modelId="{7755CB37-A579-8646-AE85-86BFF26FD30E}" type="presOf" srcId="{99F88815-9478-364F-BCED-97C9F220FE9D}" destId="{2A7ED2B8-2C30-7244-A1EB-8DB5CF107027}" srcOrd="0" destOrd="0" presId="urn:microsoft.com/office/officeart/2005/8/layout/vList3"/>
    <dgm:cxn modelId="{7AE2A93A-37A2-C84A-868D-D94638F27BC2}" srcId="{EFA9B804-5BBF-1449-9442-D808FF573361}" destId="{238FAE84-A77A-554D-A741-AB70A38CB199}" srcOrd="0" destOrd="0" parTransId="{ADDF8973-01A7-FA4B-9D4C-306A99EB7655}" sibTransId="{17A21066-4B8F-494F-A4C6-A6674B0C61DA}"/>
    <dgm:cxn modelId="{A6711C46-3D15-6E4A-BAFB-B12ECAFA13F5}" srcId="{EFA9B804-5BBF-1449-9442-D808FF573361}" destId="{30AEFC41-EDFB-AC40-A36D-6627229D7B8A}" srcOrd="5" destOrd="0" parTransId="{B4A5A49F-5FC1-0443-BFDE-90AC6DABA606}" sibTransId="{E3139961-9567-ED48-B8D9-EFF091FB20DB}"/>
    <dgm:cxn modelId="{7BA5DB72-D91F-3A46-B4CF-EECCF9EE19D5}" type="presOf" srcId="{238FAE84-A77A-554D-A741-AB70A38CB199}" destId="{6861AAB1-EC40-664D-A5A5-478B64344EFD}" srcOrd="0" destOrd="0" presId="urn:microsoft.com/office/officeart/2005/8/layout/vList3"/>
    <dgm:cxn modelId="{F7F57A7B-0D5F-4344-A231-4F8C1B9EC9A0}" type="presOf" srcId="{0155389D-217A-4D43-8428-E26C6C8685B4}" destId="{09C1E1EA-FE8D-7B47-8937-4F68E5E2F1D0}" srcOrd="0" destOrd="0" presId="urn:microsoft.com/office/officeart/2005/8/layout/vList3"/>
    <dgm:cxn modelId="{38AAD67D-2559-274B-A646-8C5A1DB0A8CD}" srcId="{EFA9B804-5BBF-1449-9442-D808FF573361}" destId="{7A69771B-D7CB-F045-AE8D-37223459DBD8}" srcOrd="3" destOrd="0" parTransId="{21D4B3B2-BC76-5147-8EE7-8986123F88C7}" sibTransId="{AD39180F-B5E9-294A-B72B-05067EE29DBA}"/>
    <dgm:cxn modelId="{2CEA9788-6A25-E145-A681-16EB0A110E41}" type="presOf" srcId="{7A69771B-D7CB-F045-AE8D-37223459DBD8}" destId="{CBC554A5-EBE0-474F-A1D9-56CE57A67F5C}" srcOrd="0" destOrd="0" presId="urn:microsoft.com/office/officeart/2005/8/layout/vList3"/>
    <dgm:cxn modelId="{F1E4B5AC-F0EA-2640-90CC-F9B14811E76E}" srcId="{EFA9B804-5BBF-1449-9442-D808FF573361}" destId="{0155389D-217A-4D43-8428-E26C6C8685B4}" srcOrd="4" destOrd="0" parTransId="{23A8E873-FDA5-4544-9C8B-7BB409E23B3C}" sibTransId="{FC53131D-14BB-EA4B-9D51-A10977B41BD8}"/>
    <dgm:cxn modelId="{DF5700B3-D17A-D341-82A7-743458FC62ED}" type="presOf" srcId="{9A980711-83EF-F542-8154-95AE27C2BC1D}" destId="{F08E700B-D9F7-A949-A88F-4716D0D14549}" srcOrd="0" destOrd="0" presId="urn:microsoft.com/office/officeart/2005/8/layout/vList3"/>
    <dgm:cxn modelId="{BBE4B1B9-D801-E04C-A061-7792C86838BF}" type="presOf" srcId="{30AEFC41-EDFB-AC40-A36D-6627229D7B8A}" destId="{75792AEF-D9EF-C149-A641-597A2A7DBFD1}" srcOrd="0" destOrd="0" presId="urn:microsoft.com/office/officeart/2005/8/layout/vList3"/>
    <dgm:cxn modelId="{E431DED1-12C7-E44D-9899-C9B957B21460}" type="presOf" srcId="{EFA9B804-5BBF-1449-9442-D808FF573361}" destId="{90C344A3-63A2-1A4E-840C-2B1623977D98}" srcOrd="0" destOrd="0" presId="urn:microsoft.com/office/officeart/2005/8/layout/vList3"/>
    <dgm:cxn modelId="{5F5623E1-AA05-6A47-ACD9-379B2EE6AD93}" srcId="{EFA9B804-5BBF-1449-9442-D808FF573361}" destId="{9A980711-83EF-F542-8154-95AE27C2BC1D}" srcOrd="1" destOrd="0" parTransId="{3C41BE42-9E76-D545-831B-2C79CC863658}" sibTransId="{CA607943-A811-7A4B-A1A4-495F49FBE361}"/>
    <dgm:cxn modelId="{D90874F2-8F1D-5548-BBCD-CE332200275D}" type="presParOf" srcId="{90C344A3-63A2-1A4E-840C-2B1623977D98}" destId="{50FBE777-917F-D349-A67E-89A5ECC16628}" srcOrd="0" destOrd="0" presId="urn:microsoft.com/office/officeart/2005/8/layout/vList3"/>
    <dgm:cxn modelId="{77506AC4-0029-D041-A05A-6EF37BC6D160}" type="presParOf" srcId="{50FBE777-917F-D349-A67E-89A5ECC16628}" destId="{22BCDAF3-17CC-D141-B561-A3AF3C7A79B4}" srcOrd="0" destOrd="0" presId="urn:microsoft.com/office/officeart/2005/8/layout/vList3"/>
    <dgm:cxn modelId="{2003E022-09D5-2346-8015-00C11E10A3C4}" type="presParOf" srcId="{50FBE777-917F-D349-A67E-89A5ECC16628}" destId="{6861AAB1-EC40-664D-A5A5-478B64344EFD}" srcOrd="1" destOrd="0" presId="urn:microsoft.com/office/officeart/2005/8/layout/vList3"/>
    <dgm:cxn modelId="{D7E6F573-00BE-B543-8B55-4ADCB2676345}" type="presParOf" srcId="{90C344A3-63A2-1A4E-840C-2B1623977D98}" destId="{E7A30EAA-BABB-214D-8E87-5A1936FA25AA}" srcOrd="1" destOrd="0" presId="urn:microsoft.com/office/officeart/2005/8/layout/vList3"/>
    <dgm:cxn modelId="{2B9CA405-3B7B-8942-9D16-D05FFACF9050}" type="presParOf" srcId="{90C344A3-63A2-1A4E-840C-2B1623977D98}" destId="{C762A262-7DCB-2747-8646-BDB41F51C261}" srcOrd="2" destOrd="0" presId="urn:microsoft.com/office/officeart/2005/8/layout/vList3"/>
    <dgm:cxn modelId="{AA0D8353-8B2F-6E42-B6E6-EAF0EB547AA9}" type="presParOf" srcId="{C762A262-7DCB-2747-8646-BDB41F51C261}" destId="{067AC530-547E-2140-93C0-4B0D6EE1FF05}" srcOrd="0" destOrd="0" presId="urn:microsoft.com/office/officeart/2005/8/layout/vList3"/>
    <dgm:cxn modelId="{CB23F7D5-FC09-D24E-8912-3EE901292DA2}" type="presParOf" srcId="{C762A262-7DCB-2747-8646-BDB41F51C261}" destId="{F08E700B-D9F7-A949-A88F-4716D0D14549}" srcOrd="1" destOrd="0" presId="urn:microsoft.com/office/officeart/2005/8/layout/vList3"/>
    <dgm:cxn modelId="{FF085B89-1106-3F49-80B0-94358BE1C0D3}" type="presParOf" srcId="{90C344A3-63A2-1A4E-840C-2B1623977D98}" destId="{120A528D-B3B9-5B42-B1C4-4A257038FF4E}" srcOrd="3" destOrd="0" presId="urn:microsoft.com/office/officeart/2005/8/layout/vList3"/>
    <dgm:cxn modelId="{7733AFAF-AD94-AB4F-8C1D-A37799E5272C}" type="presParOf" srcId="{90C344A3-63A2-1A4E-840C-2B1623977D98}" destId="{CC7DF50A-BFBD-F848-B642-972F5D7A6698}" srcOrd="4" destOrd="0" presId="urn:microsoft.com/office/officeart/2005/8/layout/vList3"/>
    <dgm:cxn modelId="{5ADF3226-E1CB-1040-ABEF-E03A9E841C4B}" type="presParOf" srcId="{CC7DF50A-BFBD-F848-B642-972F5D7A6698}" destId="{68B66282-8FAB-1D46-BDF9-4B4DB43321D7}" srcOrd="0" destOrd="0" presId="urn:microsoft.com/office/officeart/2005/8/layout/vList3"/>
    <dgm:cxn modelId="{FB49B129-46AD-FC42-B48E-E53E1B3A7332}" type="presParOf" srcId="{CC7DF50A-BFBD-F848-B642-972F5D7A6698}" destId="{2A7ED2B8-2C30-7244-A1EB-8DB5CF107027}" srcOrd="1" destOrd="0" presId="urn:microsoft.com/office/officeart/2005/8/layout/vList3"/>
    <dgm:cxn modelId="{3F12AB03-DF53-6744-B230-A0F6843CD6A0}" type="presParOf" srcId="{90C344A3-63A2-1A4E-840C-2B1623977D98}" destId="{BB4620A6-3B88-0A4F-915A-9B26C981B35D}" srcOrd="5" destOrd="0" presId="urn:microsoft.com/office/officeart/2005/8/layout/vList3"/>
    <dgm:cxn modelId="{E1582614-0CB9-D04A-B6DA-5EFBBEBFCAC3}" type="presParOf" srcId="{90C344A3-63A2-1A4E-840C-2B1623977D98}" destId="{71EBA8C0-7C6C-A148-B170-E7369FA26434}" srcOrd="6" destOrd="0" presId="urn:microsoft.com/office/officeart/2005/8/layout/vList3"/>
    <dgm:cxn modelId="{A03ADC05-4957-2742-9169-1CC822CCFB58}" type="presParOf" srcId="{71EBA8C0-7C6C-A148-B170-E7369FA26434}" destId="{19B0F145-CC96-8748-A9B8-189DE216D575}" srcOrd="0" destOrd="0" presId="urn:microsoft.com/office/officeart/2005/8/layout/vList3"/>
    <dgm:cxn modelId="{3FB1F2EF-687D-0642-99E2-6072AA5FA644}" type="presParOf" srcId="{71EBA8C0-7C6C-A148-B170-E7369FA26434}" destId="{CBC554A5-EBE0-474F-A1D9-56CE57A67F5C}" srcOrd="1" destOrd="0" presId="urn:microsoft.com/office/officeart/2005/8/layout/vList3"/>
    <dgm:cxn modelId="{B05CAB1A-EBDC-114F-97B3-620F47F41A2A}" type="presParOf" srcId="{90C344A3-63A2-1A4E-840C-2B1623977D98}" destId="{72916D29-00D7-7143-9C91-641F5C32998B}" srcOrd="7" destOrd="0" presId="urn:microsoft.com/office/officeart/2005/8/layout/vList3"/>
    <dgm:cxn modelId="{D5EFC4BE-CE28-1C46-A3F7-C437802C8CCD}" type="presParOf" srcId="{90C344A3-63A2-1A4E-840C-2B1623977D98}" destId="{E52EE969-C154-404E-89FE-8A5FD12D86A9}" srcOrd="8" destOrd="0" presId="urn:microsoft.com/office/officeart/2005/8/layout/vList3"/>
    <dgm:cxn modelId="{6BE0F6E6-B382-FE4F-AF49-CF39CCEA38DE}" type="presParOf" srcId="{E52EE969-C154-404E-89FE-8A5FD12D86A9}" destId="{9BEBCD04-3393-FD45-8178-572D8022A020}" srcOrd="0" destOrd="0" presId="urn:microsoft.com/office/officeart/2005/8/layout/vList3"/>
    <dgm:cxn modelId="{17250279-01F6-EA41-BAFF-67339A32D9D9}" type="presParOf" srcId="{E52EE969-C154-404E-89FE-8A5FD12D86A9}" destId="{09C1E1EA-FE8D-7B47-8937-4F68E5E2F1D0}" srcOrd="1" destOrd="0" presId="urn:microsoft.com/office/officeart/2005/8/layout/vList3"/>
    <dgm:cxn modelId="{D6C35B95-89B9-8748-8A7E-1C60753BC86C}" type="presParOf" srcId="{90C344A3-63A2-1A4E-840C-2B1623977D98}" destId="{E94D89D8-62D2-B246-A8EB-C6B4406DCA14}" srcOrd="9" destOrd="0" presId="urn:microsoft.com/office/officeart/2005/8/layout/vList3"/>
    <dgm:cxn modelId="{AFEE3C7E-1A95-174E-A689-9253B68D3DAD}" type="presParOf" srcId="{90C344A3-63A2-1A4E-840C-2B1623977D98}" destId="{00C046E7-C1DF-6D48-94D6-C329F4D347A7}" srcOrd="10" destOrd="0" presId="urn:microsoft.com/office/officeart/2005/8/layout/vList3"/>
    <dgm:cxn modelId="{3D9BABDD-54A7-264F-9FF5-5D6B9BF6471D}" type="presParOf" srcId="{00C046E7-C1DF-6D48-94D6-C329F4D347A7}" destId="{5FA9AA1E-AFC2-C141-AD7A-51D09AC94BDF}" srcOrd="0" destOrd="0" presId="urn:microsoft.com/office/officeart/2005/8/layout/vList3"/>
    <dgm:cxn modelId="{0B20966E-E746-244D-AB99-A949AD05B223}" type="presParOf" srcId="{00C046E7-C1DF-6D48-94D6-C329F4D347A7}" destId="{75792AEF-D9EF-C149-A641-597A2A7DBFD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EA88674-AE6D-664E-8D0C-C55CCEE10B9A}" type="doc">
      <dgm:prSet loTypeId="urn:microsoft.com/office/officeart/2008/layout/HorizontalMultiLevelHierarchy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1F696A6A-6DA5-5A42-816D-B2DCBACAB8C7}">
      <dgm:prSet/>
      <dgm:spPr/>
      <dgm:t>
        <a:bodyPr/>
        <a:lstStyle/>
        <a:p>
          <a:r>
            <a:rPr lang="en-IN" dirty="0"/>
            <a:t>Layers</a:t>
          </a:r>
        </a:p>
      </dgm:t>
    </dgm:pt>
    <dgm:pt modelId="{984E7B35-4D22-1D43-B645-0CA41F3697FB}" type="parTrans" cxnId="{18F4C74D-6B68-5A48-A87A-DD6627E2321F}">
      <dgm:prSet/>
      <dgm:spPr/>
      <dgm:t>
        <a:bodyPr/>
        <a:lstStyle/>
        <a:p>
          <a:endParaRPr lang="en-GB"/>
        </a:p>
      </dgm:t>
    </dgm:pt>
    <dgm:pt modelId="{6E407B78-352E-F049-B054-49EAF451E25C}" type="sibTrans" cxnId="{18F4C74D-6B68-5A48-A87A-DD6627E2321F}">
      <dgm:prSet/>
      <dgm:spPr/>
      <dgm:t>
        <a:bodyPr/>
        <a:lstStyle/>
        <a:p>
          <a:endParaRPr lang="en-GB"/>
        </a:p>
      </dgm:t>
    </dgm:pt>
    <dgm:pt modelId="{BAF34FA3-9B3D-2C4B-8978-9BB270CFB7DF}">
      <dgm:prSet/>
      <dgm:spPr>
        <a:solidFill>
          <a:schemeClr val="accent2"/>
        </a:solidFill>
      </dgm:spPr>
      <dgm:t>
        <a:bodyPr/>
        <a:lstStyle/>
        <a:p>
          <a:r>
            <a:rPr lang="en-US" dirty="0"/>
            <a:t>URL</a:t>
          </a:r>
          <a:endParaRPr lang="en-IN" dirty="0"/>
        </a:p>
      </dgm:t>
    </dgm:pt>
    <dgm:pt modelId="{E650C30F-ABC6-274E-8926-42189042667C}" type="sibTrans" cxnId="{F051BC05-C2D4-024F-982D-D699A315EB3A}">
      <dgm:prSet/>
      <dgm:spPr/>
      <dgm:t>
        <a:bodyPr/>
        <a:lstStyle/>
        <a:p>
          <a:endParaRPr lang="en-GB"/>
        </a:p>
      </dgm:t>
    </dgm:pt>
    <dgm:pt modelId="{73E5651E-1B1A-204A-B6AF-D8BF20FA2B61}" type="parTrans" cxnId="{F051BC05-C2D4-024F-982D-D699A315EB3A}">
      <dgm:prSet/>
      <dgm:spPr/>
      <dgm:t>
        <a:bodyPr/>
        <a:lstStyle/>
        <a:p>
          <a:endParaRPr lang="en-GB"/>
        </a:p>
      </dgm:t>
    </dgm:pt>
    <dgm:pt modelId="{28EBDF0E-CD7F-0D4D-970C-016C81A00673}">
      <dgm:prSet/>
      <dgm:spPr>
        <a:solidFill>
          <a:srgbClr val="C00000"/>
        </a:solidFill>
      </dgm:spPr>
      <dgm:t>
        <a:bodyPr/>
        <a:lstStyle/>
        <a:p>
          <a:r>
            <a:rPr lang="en-US" dirty="0"/>
            <a:t>Method</a:t>
          </a:r>
          <a:endParaRPr lang="en-IN" dirty="0"/>
        </a:p>
      </dgm:t>
    </dgm:pt>
    <dgm:pt modelId="{24D521C9-EECC-734B-B736-BA9FBADED299}" type="sibTrans" cxnId="{2114E621-C238-084D-B148-68F5930D2C99}">
      <dgm:prSet/>
      <dgm:spPr/>
      <dgm:t>
        <a:bodyPr/>
        <a:lstStyle/>
        <a:p>
          <a:endParaRPr lang="en-GB"/>
        </a:p>
      </dgm:t>
    </dgm:pt>
    <dgm:pt modelId="{8D170B7B-6E5B-084F-83CA-C2F6D535956C}" type="parTrans" cxnId="{2114E621-C238-084D-B148-68F5930D2C99}">
      <dgm:prSet/>
      <dgm:spPr/>
      <dgm:t>
        <a:bodyPr/>
        <a:lstStyle/>
        <a:p>
          <a:endParaRPr lang="en-GB"/>
        </a:p>
      </dgm:t>
    </dgm:pt>
    <dgm:pt modelId="{1F6F6D51-9DF5-9D46-9016-26FACCBAC5E2}">
      <dgm:prSet/>
      <dgm:spPr>
        <a:solidFill>
          <a:srgbClr val="7030A0"/>
        </a:solidFill>
      </dgm:spPr>
      <dgm:t>
        <a:bodyPr/>
        <a:lstStyle/>
        <a:p>
          <a:r>
            <a:rPr lang="en-US" dirty="0"/>
            <a:t>Domain Object</a:t>
          </a:r>
          <a:endParaRPr lang="en-IN" dirty="0"/>
        </a:p>
      </dgm:t>
    </dgm:pt>
    <dgm:pt modelId="{2C721CCD-4BA0-4441-B4CF-DDB52A886FB5}" type="sibTrans" cxnId="{F727F7CD-792F-8649-8FF2-A55B7E399D0F}">
      <dgm:prSet/>
      <dgm:spPr/>
      <dgm:t>
        <a:bodyPr/>
        <a:lstStyle/>
        <a:p>
          <a:endParaRPr lang="en-GB"/>
        </a:p>
      </dgm:t>
    </dgm:pt>
    <dgm:pt modelId="{E15A6CCC-1B13-7B49-B2BE-216E781B1415}" type="parTrans" cxnId="{F727F7CD-792F-8649-8FF2-A55B7E399D0F}">
      <dgm:prSet/>
      <dgm:spPr/>
      <dgm:t>
        <a:bodyPr/>
        <a:lstStyle/>
        <a:p>
          <a:endParaRPr lang="en-GB"/>
        </a:p>
      </dgm:t>
    </dgm:pt>
    <dgm:pt modelId="{1FAE4D7F-30EC-3848-977F-300388682C0E}" type="pres">
      <dgm:prSet presAssocID="{7EA88674-AE6D-664E-8D0C-C55CCEE10B9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2AA77D4-3E36-5042-B43F-35F8041A97EF}" type="pres">
      <dgm:prSet presAssocID="{1F696A6A-6DA5-5A42-816D-B2DCBACAB8C7}" presName="root1" presStyleCnt="0"/>
      <dgm:spPr/>
    </dgm:pt>
    <dgm:pt modelId="{335194EB-E9FF-EF42-A841-1184DCC6E310}" type="pres">
      <dgm:prSet presAssocID="{1F696A6A-6DA5-5A42-816D-B2DCBACAB8C7}" presName="LevelOneTextNode" presStyleLbl="node0" presStyleIdx="0" presStyleCnt="1">
        <dgm:presLayoutVars>
          <dgm:chPref val="3"/>
        </dgm:presLayoutVars>
      </dgm:prSet>
      <dgm:spPr/>
    </dgm:pt>
    <dgm:pt modelId="{D3D96525-47FF-AA43-9549-01E9CA41B99B}" type="pres">
      <dgm:prSet presAssocID="{1F696A6A-6DA5-5A42-816D-B2DCBACAB8C7}" presName="level2hierChild" presStyleCnt="0"/>
      <dgm:spPr/>
    </dgm:pt>
    <dgm:pt modelId="{A81DEC10-536A-4346-88DB-A2C648D3E27E}" type="pres">
      <dgm:prSet presAssocID="{73E5651E-1B1A-204A-B6AF-D8BF20FA2B61}" presName="conn2-1" presStyleLbl="parChTrans1D2" presStyleIdx="0" presStyleCnt="3"/>
      <dgm:spPr/>
    </dgm:pt>
    <dgm:pt modelId="{88E656D4-165B-334D-B00B-72AEFF2E6143}" type="pres">
      <dgm:prSet presAssocID="{73E5651E-1B1A-204A-B6AF-D8BF20FA2B61}" presName="connTx" presStyleLbl="parChTrans1D2" presStyleIdx="0" presStyleCnt="3"/>
      <dgm:spPr/>
    </dgm:pt>
    <dgm:pt modelId="{69EDE06F-20E8-3046-9B80-7CF078A619B9}" type="pres">
      <dgm:prSet presAssocID="{BAF34FA3-9B3D-2C4B-8978-9BB270CFB7DF}" presName="root2" presStyleCnt="0"/>
      <dgm:spPr/>
    </dgm:pt>
    <dgm:pt modelId="{6EB3CF56-E71B-8040-9FEF-172C76CAADD2}" type="pres">
      <dgm:prSet presAssocID="{BAF34FA3-9B3D-2C4B-8978-9BB270CFB7DF}" presName="LevelTwoTextNode" presStyleLbl="node2" presStyleIdx="0" presStyleCnt="3" custScaleX="293128">
        <dgm:presLayoutVars>
          <dgm:chPref val="3"/>
        </dgm:presLayoutVars>
      </dgm:prSet>
      <dgm:spPr/>
    </dgm:pt>
    <dgm:pt modelId="{73F3E968-FB94-CA43-BC9B-5FB508BD8B0D}" type="pres">
      <dgm:prSet presAssocID="{BAF34FA3-9B3D-2C4B-8978-9BB270CFB7DF}" presName="level3hierChild" presStyleCnt="0"/>
      <dgm:spPr/>
    </dgm:pt>
    <dgm:pt modelId="{9EB2547F-FF5C-1F4A-B534-A524B2D0FFDF}" type="pres">
      <dgm:prSet presAssocID="{8D170B7B-6E5B-084F-83CA-C2F6D535956C}" presName="conn2-1" presStyleLbl="parChTrans1D2" presStyleIdx="1" presStyleCnt="3"/>
      <dgm:spPr/>
    </dgm:pt>
    <dgm:pt modelId="{8AD62695-825F-8E40-97D6-FCD3F0F70E6A}" type="pres">
      <dgm:prSet presAssocID="{8D170B7B-6E5B-084F-83CA-C2F6D535956C}" presName="connTx" presStyleLbl="parChTrans1D2" presStyleIdx="1" presStyleCnt="3"/>
      <dgm:spPr/>
    </dgm:pt>
    <dgm:pt modelId="{594F2695-772A-F847-8E2F-72E0AC532DA6}" type="pres">
      <dgm:prSet presAssocID="{28EBDF0E-CD7F-0D4D-970C-016C81A00673}" presName="root2" presStyleCnt="0"/>
      <dgm:spPr/>
    </dgm:pt>
    <dgm:pt modelId="{223A5AD9-DC34-A246-A6D8-FFA432D6D46D}" type="pres">
      <dgm:prSet presAssocID="{28EBDF0E-CD7F-0D4D-970C-016C81A00673}" presName="LevelTwoTextNode" presStyleLbl="node2" presStyleIdx="1" presStyleCnt="3" custScaleX="293128">
        <dgm:presLayoutVars>
          <dgm:chPref val="3"/>
        </dgm:presLayoutVars>
      </dgm:prSet>
      <dgm:spPr/>
    </dgm:pt>
    <dgm:pt modelId="{DDDE9580-B2DE-E24F-9EC6-E57A9F550698}" type="pres">
      <dgm:prSet presAssocID="{28EBDF0E-CD7F-0D4D-970C-016C81A00673}" presName="level3hierChild" presStyleCnt="0"/>
      <dgm:spPr/>
    </dgm:pt>
    <dgm:pt modelId="{14805215-FB81-BB49-8478-239BAA09B3E2}" type="pres">
      <dgm:prSet presAssocID="{E15A6CCC-1B13-7B49-B2BE-216E781B1415}" presName="conn2-1" presStyleLbl="parChTrans1D2" presStyleIdx="2" presStyleCnt="3"/>
      <dgm:spPr/>
    </dgm:pt>
    <dgm:pt modelId="{37F479D3-CA4B-DA49-AA94-AEA75C6088FE}" type="pres">
      <dgm:prSet presAssocID="{E15A6CCC-1B13-7B49-B2BE-216E781B1415}" presName="connTx" presStyleLbl="parChTrans1D2" presStyleIdx="2" presStyleCnt="3"/>
      <dgm:spPr/>
    </dgm:pt>
    <dgm:pt modelId="{52ADD28B-0F91-DE41-8758-CDCB016522A5}" type="pres">
      <dgm:prSet presAssocID="{1F6F6D51-9DF5-9D46-9016-26FACCBAC5E2}" presName="root2" presStyleCnt="0"/>
      <dgm:spPr/>
    </dgm:pt>
    <dgm:pt modelId="{47C8577C-2B8A-0541-B0AB-A1033B7B2EEF}" type="pres">
      <dgm:prSet presAssocID="{1F6F6D51-9DF5-9D46-9016-26FACCBAC5E2}" presName="LevelTwoTextNode" presStyleLbl="node2" presStyleIdx="2" presStyleCnt="3" custScaleX="293128">
        <dgm:presLayoutVars>
          <dgm:chPref val="3"/>
        </dgm:presLayoutVars>
      </dgm:prSet>
      <dgm:spPr/>
    </dgm:pt>
    <dgm:pt modelId="{E9785DA2-53C9-AA4E-A445-FF58019A6B61}" type="pres">
      <dgm:prSet presAssocID="{1F6F6D51-9DF5-9D46-9016-26FACCBAC5E2}" presName="level3hierChild" presStyleCnt="0"/>
      <dgm:spPr/>
    </dgm:pt>
  </dgm:ptLst>
  <dgm:cxnLst>
    <dgm:cxn modelId="{F051BC05-C2D4-024F-982D-D699A315EB3A}" srcId="{1F696A6A-6DA5-5A42-816D-B2DCBACAB8C7}" destId="{BAF34FA3-9B3D-2C4B-8978-9BB270CFB7DF}" srcOrd="0" destOrd="0" parTransId="{73E5651E-1B1A-204A-B6AF-D8BF20FA2B61}" sibTransId="{E650C30F-ABC6-274E-8926-42189042667C}"/>
    <dgm:cxn modelId="{F09D0C0B-BA23-1D4E-BE95-0E14CF8F3642}" type="presOf" srcId="{73E5651E-1B1A-204A-B6AF-D8BF20FA2B61}" destId="{A81DEC10-536A-4346-88DB-A2C648D3E27E}" srcOrd="0" destOrd="0" presId="urn:microsoft.com/office/officeart/2008/layout/HorizontalMultiLevelHierarchy"/>
    <dgm:cxn modelId="{DFFD6D0F-22A5-5F46-9E87-75B7CBDB51C7}" type="presOf" srcId="{E15A6CCC-1B13-7B49-B2BE-216E781B1415}" destId="{14805215-FB81-BB49-8478-239BAA09B3E2}" srcOrd="0" destOrd="0" presId="urn:microsoft.com/office/officeart/2008/layout/HorizontalMultiLevelHierarchy"/>
    <dgm:cxn modelId="{2114E621-C238-084D-B148-68F5930D2C99}" srcId="{1F696A6A-6DA5-5A42-816D-B2DCBACAB8C7}" destId="{28EBDF0E-CD7F-0D4D-970C-016C81A00673}" srcOrd="1" destOrd="0" parTransId="{8D170B7B-6E5B-084F-83CA-C2F6D535956C}" sibTransId="{24D521C9-EECC-734B-B736-BA9FBADED299}"/>
    <dgm:cxn modelId="{3C892A26-6594-CC43-B155-85FF7C81744E}" type="presOf" srcId="{8D170B7B-6E5B-084F-83CA-C2F6D535956C}" destId="{9EB2547F-FF5C-1F4A-B534-A524B2D0FFDF}" srcOrd="0" destOrd="0" presId="urn:microsoft.com/office/officeart/2008/layout/HorizontalMultiLevelHierarchy"/>
    <dgm:cxn modelId="{D3811A2B-DACF-074D-934A-3C7CCFCFA31D}" type="presOf" srcId="{73E5651E-1B1A-204A-B6AF-D8BF20FA2B61}" destId="{88E656D4-165B-334D-B00B-72AEFF2E6143}" srcOrd="1" destOrd="0" presId="urn:microsoft.com/office/officeart/2008/layout/HorizontalMultiLevelHierarchy"/>
    <dgm:cxn modelId="{8146D73E-FAAC-344F-8841-E4951DB3ECEB}" type="presOf" srcId="{7EA88674-AE6D-664E-8D0C-C55CCEE10B9A}" destId="{1FAE4D7F-30EC-3848-977F-300388682C0E}" srcOrd="0" destOrd="0" presId="urn:microsoft.com/office/officeart/2008/layout/HorizontalMultiLevelHierarchy"/>
    <dgm:cxn modelId="{FC46CB44-0107-5A47-B57E-9F4434D14705}" type="presOf" srcId="{1F696A6A-6DA5-5A42-816D-B2DCBACAB8C7}" destId="{335194EB-E9FF-EF42-A841-1184DCC6E310}" srcOrd="0" destOrd="0" presId="urn:microsoft.com/office/officeart/2008/layout/HorizontalMultiLevelHierarchy"/>
    <dgm:cxn modelId="{18F4C74D-6B68-5A48-A87A-DD6627E2321F}" srcId="{7EA88674-AE6D-664E-8D0C-C55CCEE10B9A}" destId="{1F696A6A-6DA5-5A42-816D-B2DCBACAB8C7}" srcOrd="0" destOrd="0" parTransId="{984E7B35-4D22-1D43-B645-0CA41F3697FB}" sibTransId="{6E407B78-352E-F049-B054-49EAF451E25C}"/>
    <dgm:cxn modelId="{AB5C4F67-DEB4-DB41-A124-CD97B22B5C98}" type="presOf" srcId="{8D170B7B-6E5B-084F-83CA-C2F6D535956C}" destId="{8AD62695-825F-8E40-97D6-FCD3F0F70E6A}" srcOrd="1" destOrd="0" presId="urn:microsoft.com/office/officeart/2008/layout/HorizontalMultiLevelHierarchy"/>
    <dgm:cxn modelId="{8961178D-34DC-574C-9290-798D1DD5A80B}" type="presOf" srcId="{E15A6CCC-1B13-7B49-B2BE-216E781B1415}" destId="{37F479D3-CA4B-DA49-AA94-AEA75C6088FE}" srcOrd="1" destOrd="0" presId="urn:microsoft.com/office/officeart/2008/layout/HorizontalMultiLevelHierarchy"/>
    <dgm:cxn modelId="{A239E197-3A9D-3444-82F1-1377D0DBC7F1}" type="presOf" srcId="{1F6F6D51-9DF5-9D46-9016-26FACCBAC5E2}" destId="{47C8577C-2B8A-0541-B0AB-A1033B7B2EEF}" srcOrd="0" destOrd="0" presId="urn:microsoft.com/office/officeart/2008/layout/HorizontalMultiLevelHierarchy"/>
    <dgm:cxn modelId="{454C5D9C-8A6E-D247-A13D-0FEAF3608A3C}" type="presOf" srcId="{BAF34FA3-9B3D-2C4B-8978-9BB270CFB7DF}" destId="{6EB3CF56-E71B-8040-9FEF-172C76CAADD2}" srcOrd="0" destOrd="0" presId="urn:microsoft.com/office/officeart/2008/layout/HorizontalMultiLevelHierarchy"/>
    <dgm:cxn modelId="{F727F7CD-792F-8649-8FF2-A55B7E399D0F}" srcId="{1F696A6A-6DA5-5A42-816D-B2DCBACAB8C7}" destId="{1F6F6D51-9DF5-9D46-9016-26FACCBAC5E2}" srcOrd="2" destOrd="0" parTransId="{E15A6CCC-1B13-7B49-B2BE-216E781B1415}" sibTransId="{2C721CCD-4BA0-4441-B4CF-DDB52A886FB5}"/>
    <dgm:cxn modelId="{B06FD8EF-14BF-FF47-B25F-898199AED16E}" type="presOf" srcId="{28EBDF0E-CD7F-0D4D-970C-016C81A00673}" destId="{223A5AD9-DC34-A246-A6D8-FFA432D6D46D}" srcOrd="0" destOrd="0" presId="urn:microsoft.com/office/officeart/2008/layout/HorizontalMultiLevelHierarchy"/>
    <dgm:cxn modelId="{F2B9C97A-5093-8C49-808D-DCB5986B63C7}" type="presParOf" srcId="{1FAE4D7F-30EC-3848-977F-300388682C0E}" destId="{22AA77D4-3E36-5042-B43F-35F8041A97EF}" srcOrd="0" destOrd="0" presId="urn:microsoft.com/office/officeart/2008/layout/HorizontalMultiLevelHierarchy"/>
    <dgm:cxn modelId="{CDC6635A-BFCC-2445-B77D-D0B0F73B033A}" type="presParOf" srcId="{22AA77D4-3E36-5042-B43F-35F8041A97EF}" destId="{335194EB-E9FF-EF42-A841-1184DCC6E310}" srcOrd="0" destOrd="0" presId="urn:microsoft.com/office/officeart/2008/layout/HorizontalMultiLevelHierarchy"/>
    <dgm:cxn modelId="{43A6C33F-5582-C244-B56F-568A32C2F6A8}" type="presParOf" srcId="{22AA77D4-3E36-5042-B43F-35F8041A97EF}" destId="{D3D96525-47FF-AA43-9549-01E9CA41B99B}" srcOrd="1" destOrd="0" presId="urn:microsoft.com/office/officeart/2008/layout/HorizontalMultiLevelHierarchy"/>
    <dgm:cxn modelId="{C6E4F664-73A5-ED46-A039-7E3DDAF77FEE}" type="presParOf" srcId="{D3D96525-47FF-AA43-9549-01E9CA41B99B}" destId="{A81DEC10-536A-4346-88DB-A2C648D3E27E}" srcOrd="0" destOrd="0" presId="urn:microsoft.com/office/officeart/2008/layout/HorizontalMultiLevelHierarchy"/>
    <dgm:cxn modelId="{E3B9BFE3-45C0-F84B-BFA2-23B3F6002501}" type="presParOf" srcId="{A81DEC10-536A-4346-88DB-A2C648D3E27E}" destId="{88E656D4-165B-334D-B00B-72AEFF2E6143}" srcOrd="0" destOrd="0" presId="urn:microsoft.com/office/officeart/2008/layout/HorizontalMultiLevelHierarchy"/>
    <dgm:cxn modelId="{6CCD09FC-4263-0F46-B495-BACE57CBD2EB}" type="presParOf" srcId="{D3D96525-47FF-AA43-9549-01E9CA41B99B}" destId="{69EDE06F-20E8-3046-9B80-7CF078A619B9}" srcOrd="1" destOrd="0" presId="urn:microsoft.com/office/officeart/2008/layout/HorizontalMultiLevelHierarchy"/>
    <dgm:cxn modelId="{49E96F54-70AE-AF40-867B-2E26A1DBEFF6}" type="presParOf" srcId="{69EDE06F-20E8-3046-9B80-7CF078A619B9}" destId="{6EB3CF56-E71B-8040-9FEF-172C76CAADD2}" srcOrd="0" destOrd="0" presId="urn:microsoft.com/office/officeart/2008/layout/HorizontalMultiLevelHierarchy"/>
    <dgm:cxn modelId="{D65EE850-356A-D040-8D7A-A3431D24176C}" type="presParOf" srcId="{69EDE06F-20E8-3046-9B80-7CF078A619B9}" destId="{73F3E968-FB94-CA43-BC9B-5FB508BD8B0D}" srcOrd="1" destOrd="0" presId="urn:microsoft.com/office/officeart/2008/layout/HorizontalMultiLevelHierarchy"/>
    <dgm:cxn modelId="{1E2A1F4B-EC4B-F940-9296-FE47E2A3D3D4}" type="presParOf" srcId="{D3D96525-47FF-AA43-9549-01E9CA41B99B}" destId="{9EB2547F-FF5C-1F4A-B534-A524B2D0FFDF}" srcOrd="2" destOrd="0" presId="urn:microsoft.com/office/officeart/2008/layout/HorizontalMultiLevelHierarchy"/>
    <dgm:cxn modelId="{8D5C3247-833C-BE4E-A755-BC1DED41D7A2}" type="presParOf" srcId="{9EB2547F-FF5C-1F4A-B534-A524B2D0FFDF}" destId="{8AD62695-825F-8E40-97D6-FCD3F0F70E6A}" srcOrd="0" destOrd="0" presId="urn:microsoft.com/office/officeart/2008/layout/HorizontalMultiLevelHierarchy"/>
    <dgm:cxn modelId="{9F3A2F0E-5C4A-D343-8E48-B58C74EF2F33}" type="presParOf" srcId="{D3D96525-47FF-AA43-9549-01E9CA41B99B}" destId="{594F2695-772A-F847-8E2F-72E0AC532DA6}" srcOrd="3" destOrd="0" presId="urn:microsoft.com/office/officeart/2008/layout/HorizontalMultiLevelHierarchy"/>
    <dgm:cxn modelId="{57BFEC1E-741F-0E44-AFD8-FE60A828F5EE}" type="presParOf" srcId="{594F2695-772A-F847-8E2F-72E0AC532DA6}" destId="{223A5AD9-DC34-A246-A6D8-FFA432D6D46D}" srcOrd="0" destOrd="0" presId="urn:microsoft.com/office/officeart/2008/layout/HorizontalMultiLevelHierarchy"/>
    <dgm:cxn modelId="{C48D0C7B-34FC-F240-BBED-A646E58CE984}" type="presParOf" srcId="{594F2695-772A-F847-8E2F-72E0AC532DA6}" destId="{DDDE9580-B2DE-E24F-9EC6-E57A9F550698}" srcOrd="1" destOrd="0" presId="urn:microsoft.com/office/officeart/2008/layout/HorizontalMultiLevelHierarchy"/>
    <dgm:cxn modelId="{2AFFB5F0-96CC-2242-829E-6CB054649B3E}" type="presParOf" srcId="{D3D96525-47FF-AA43-9549-01E9CA41B99B}" destId="{14805215-FB81-BB49-8478-239BAA09B3E2}" srcOrd="4" destOrd="0" presId="urn:microsoft.com/office/officeart/2008/layout/HorizontalMultiLevelHierarchy"/>
    <dgm:cxn modelId="{CD49541D-BF36-3540-A14C-14E5C60058E9}" type="presParOf" srcId="{14805215-FB81-BB49-8478-239BAA09B3E2}" destId="{37F479D3-CA4B-DA49-AA94-AEA75C6088FE}" srcOrd="0" destOrd="0" presId="urn:microsoft.com/office/officeart/2008/layout/HorizontalMultiLevelHierarchy"/>
    <dgm:cxn modelId="{23696ABF-032D-2A43-851F-52A40622798B}" type="presParOf" srcId="{D3D96525-47FF-AA43-9549-01E9CA41B99B}" destId="{52ADD28B-0F91-DE41-8758-CDCB016522A5}" srcOrd="5" destOrd="0" presId="urn:microsoft.com/office/officeart/2008/layout/HorizontalMultiLevelHierarchy"/>
    <dgm:cxn modelId="{613009E1-D775-A745-90DE-B412C16D11DC}" type="presParOf" srcId="{52ADD28B-0F91-DE41-8758-CDCB016522A5}" destId="{47C8577C-2B8A-0541-B0AB-A1033B7B2EEF}" srcOrd="0" destOrd="0" presId="urn:microsoft.com/office/officeart/2008/layout/HorizontalMultiLevelHierarchy"/>
    <dgm:cxn modelId="{7183270F-93BD-8140-9835-DEDF01C80119}" type="presParOf" srcId="{52ADD28B-0F91-DE41-8758-CDCB016522A5}" destId="{E9785DA2-53C9-AA4E-A445-FF58019A6B61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4765DD9-C9BB-3B48-86B4-1F75D455B369}" type="doc">
      <dgm:prSet loTypeId="urn:microsoft.com/office/officeart/2005/8/layout/hList6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0ABA940E-2C21-2747-95C0-619DAF1811EF}">
      <dgm:prSet/>
      <dgm:spPr/>
      <dgm:t>
        <a:bodyPr/>
        <a:lstStyle/>
        <a:p>
          <a:r>
            <a:rPr lang="en-US" dirty="0"/>
            <a:t>Securing URLs</a:t>
          </a:r>
          <a:endParaRPr lang="en-IN" dirty="0"/>
        </a:p>
      </dgm:t>
    </dgm:pt>
    <dgm:pt modelId="{5E7E5BF4-842B-CE4B-B948-9DAC0BE44BFC}" type="parTrans" cxnId="{1871832B-2CDA-D849-A1C1-1EC192DAF23B}">
      <dgm:prSet/>
      <dgm:spPr/>
      <dgm:t>
        <a:bodyPr/>
        <a:lstStyle/>
        <a:p>
          <a:endParaRPr lang="en-GB"/>
        </a:p>
      </dgm:t>
    </dgm:pt>
    <dgm:pt modelId="{97EC4C33-BD5D-2540-94A0-4954D7C967E2}" type="sibTrans" cxnId="{1871832B-2CDA-D849-A1C1-1EC192DAF23B}">
      <dgm:prSet/>
      <dgm:spPr/>
      <dgm:t>
        <a:bodyPr/>
        <a:lstStyle/>
        <a:p>
          <a:endParaRPr lang="en-GB"/>
        </a:p>
      </dgm:t>
    </dgm:pt>
    <dgm:pt modelId="{7F0721E2-5AF2-2A4F-AF5E-F127DCA10101}">
      <dgm:prSet/>
      <dgm:spPr/>
      <dgm:t>
        <a:bodyPr/>
        <a:lstStyle/>
        <a:p>
          <a:r>
            <a:rPr lang="en-US"/>
            <a:t>Securing Methods</a:t>
          </a:r>
          <a:endParaRPr lang="en-US" dirty="0"/>
        </a:p>
      </dgm:t>
    </dgm:pt>
    <dgm:pt modelId="{0A828A0C-1B84-6E49-AE29-BB3867970F1C}" type="parTrans" cxnId="{B9B535C2-D938-DE42-8163-AB435012B327}">
      <dgm:prSet/>
      <dgm:spPr/>
      <dgm:t>
        <a:bodyPr/>
        <a:lstStyle/>
        <a:p>
          <a:endParaRPr lang="en-GB"/>
        </a:p>
      </dgm:t>
    </dgm:pt>
    <dgm:pt modelId="{0CB02FE4-5D94-4F42-A30B-487FC4FA01BF}" type="sibTrans" cxnId="{B9B535C2-D938-DE42-8163-AB435012B327}">
      <dgm:prSet/>
      <dgm:spPr/>
      <dgm:t>
        <a:bodyPr/>
        <a:lstStyle/>
        <a:p>
          <a:endParaRPr lang="en-GB"/>
        </a:p>
      </dgm:t>
    </dgm:pt>
    <dgm:pt modelId="{71652619-D15A-014D-942F-29AFA0708083}" type="pres">
      <dgm:prSet presAssocID="{44765DD9-C9BB-3B48-86B4-1F75D455B369}" presName="Name0" presStyleCnt="0">
        <dgm:presLayoutVars>
          <dgm:dir/>
          <dgm:resizeHandles val="exact"/>
        </dgm:presLayoutVars>
      </dgm:prSet>
      <dgm:spPr/>
    </dgm:pt>
    <dgm:pt modelId="{8E1C98E0-B87C-2446-A412-BBAB465A653A}" type="pres">
      <dgm:prSet presAssocID="{0ABA940E-2C21-2747-95C0-619DAF1811EF}" presName="node" presStyleLbl="node1" presStyleIdx="0" presStyleCnt="2">
        <dgm:presLayoutVars>
          <dgm:bulletEnabled val="1"/>
        </dgm:presLayoutVars>
      </dgm:prSet>
      <dgm:spPr/>
    </dgm:pt>
    <dgm:pt modelId="{4C0731FB-B7F9-864F-9E86-144B58695F9D}" type="pres">
      <dgm:prSet presAssocID="{97EC4C33-BD5D-2540-94A0-4954D7C967E2}" presName="sibTrans" presStyleCnt="0"/>
      <dgm:spPr/>
    </dgm:pt>
    <dgm:pt modelId="{D6C69AC0-6CFE-074F-B649-FDBD71DD35C3}" type="pres">
      <dgm:prSet presAssocID="{7F0721E2-5AF2-2A4F-AF5E-F127DCA10101}" presName="node" presStyleLbl="node1" presStyleIdx="1" presStyleCnt="2">
        <dgm:presLayoutVars>
          <dgm:bulletEnabled val="1"/>
        </dgm:presLayoutVars>
      </dgm:prSet>
      <dgm:spPr/>
    </dgm:pt>
  </dgm:ptLst>
  <dgm:cxnLst>
    <dgm:cxn modelId="{1871832B-2CDA-D849-A1C1-1EC192DAF23B}" srcId="{44765DD9-C9BB-3B48-86B4-1F75D455B369}" destId="{0ABA940E-2C21-2747-95C0-619DAF1811EF}" srcOrd="0" destOrd="0" parTransId="{5E7E5BF4-842B-CE4B-B948-9DAC0BE44BFC}" sibTransId="{97EC4C33-BD5D-2540-94A0-4954D7C967E2}"/>
    <dgm:cxn modelId="{157D314B-1466-E945-8A52-AF580756C1C8}" type="presOf" srcId="{44765DD9-C9BB-3B48-86B4-1F75D455B369}" destId="{71652619-D15A-014D-942F-29AFA0708083}" srcOrd="0" destOrd="0" presId="urn:microsoft.com/office/officeart/2005/8/layout/hList6"/>
    <dgm:cxn modelId="{34025090-6BF2-5A46-89C4-B49831846B37}" type="presOf" srcId="{0ABA940E-2C21-2747-95C0-619DAF1811EF}" destId="{8E1C98E0-B87C-2446-A412-BBAB465A653A}" srcOrd="0" destOrd="0" presId="urn:microsoft.com/office/officeart/2005/8/layout/hList6"/>
    <dgm:cxn modelId="{E28A0992-0F2D-7F41-AA40-1BCE8C79A490}" type="presOf" srcId="{7F0721E2-5AF2-2A4F-AF5E-F127DCA10101}" destId="{D6C69AC0-6CFE-074F-B649-FDBD71DD35C3}" srcOrd="0" destOrd="0" presId="urn:microsoft.com/office/officeart/2005/8/layout/hList6"/>
    <dgm:cxn modelId="{B9B535C2-D938-DE42-8163-AB435012B327}" srcId="{44765DD9-C9BB-3B48-86B4-1F75D455B369}" destId="{7F0721E2-5AF2-2A4F-AF5E-F127DCA10101}" srcOrd="1" destOrd="0" parTransId="{0A828A0C-1B84-6E49-AE29-BB3867970F1C}" sibTransId="{0CB02FE4-5D94-4F42-A30B-487FC4FA01BF}"/>
    <dgm:cxn modelId="{31263393-107D-484A-BDD8-61CEF6C896DE}" type="presParOf" srcId="{71652619-D15A-014D-942F-29AFA0708083}" destId="{8E1C98E0-B87C-2446-A412-BBAB465A653A}" srcOrd="0" destOrd="0" presId="urn:microsoft.com/office/officeart/2005/8/layout/hList6"/>
    <dgm:cxn modelId="{5FAA714C-9C10-7B48-89AB-17FFEDD79C37}" type="presParOf" srcId="{71652619-D15A-014D-942F-29AFA0708083}" destId="{4C0731FB-B7F9-864F-9E86-144B58695F9D}" srcOrd="1" destOrd="0" presId="urn:microsoft.com/office/officeart/2005/8/layout/hList6"/>
    <dgm:cxn modelId="{A415C236-76A9-3F43-81F2-B27AB35FD060}" type="presParOf" srcId="{71652619-D15A-014D-942F-29AFA0708083}" destId="{D6C69AC0-6CFE-074F-B649-FDBD71DD35C3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0925BE-C16B-DB41-9098-F4204EDB1D90}" type="doc">
      <dgm:prSet loTypeId="urn:microsoft.com/office/officeart/2005/8/layout/b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A946C6A9-E8D4-EF4A-B6AA-8BCF90D79EBF}">
      <dgm:prSet custT="1"/>
      <dgm:spPr/>
      <dgm:t>
        <a:bodyPr/>
        <a:lstStyle/>
        <a:p>
          <a:r>
            <a:rPr lang="en-US" sz="1200" dirty="0"/>
            <a:t>General</a:t>
          </a:r>
          <a:endParaRPr lang="en-IN" sz="1200" dirty="0"/>
        </a:p>
      </dgm:t>
    </dgm:pt>
    <dgm:pt modelId="{A8253324-CDD1-0A45-9336-C40B920B5382}" type="parTrans" cxnId="{759D2322-5CEA-874D-A31C-CE9A0E046CCE}">
      <dgm:prSet/>
      <dgm:spPr/>
      <dgm:t>
        <a:bodyPr/>
        <a:lstStyle/>
        <a:p>
          <a:endParaRPr lang="en-GB" sz="1200"/>
        </a:p>
      </dgm:t>
    </dgm:pt>
    <dgm:pt modelId="{4DD06CBE-50A4-7B4E-94F4-C107566368A4}" type="sibTrans" cxnId="{759D2322-5CEA-874D-A31C-CE9A0E046CCE}">
      <dgm:prSet/>
      <dgm:spPr/>
      <dgm:t>
        <a:bodyPr/>
        <a:lstStyle/>
        <a:p>
          <a:endParaRPr lang="en-GB" sz="1200"/>
        </a:p>
      </dgm:t>
    </dgm:pt>
    <dgm:pt modelId="{57D21565-35AF-3D4D-BDAF-AC9F762A4272}">
      <dgm:prSet custT="1"/>
      <dgm:spPr/>
      <dgm:t>
        <a:bodyPr/>
        <a:lstStyle/>
        <a:p>
          <a:r>
            <a:rPr lang="en-US" sz="1200" dirty="0"/>
            <a:t>Integration with Spring Web (MVC, Rest)</a:t>
          </a:r>
          <a:endParaRPr lang="en-IN" sz="1200" dirty="0"/>
        </a:p>
      </dgm:t>
    </dgm:pt>
    <dgm:pt modelId="{EF1B68F3-C78C-2D4B-B793-45361E5A5880}" type="parTrans" cxnId="{8D644191-B7CE-2C40-A8E5-0EC40AA5849D}">
      <dgm:prSet/>
      <dgm:spPr/>
      <dgm:t>
        <a:bodyPr/>
        <a:lstStyle/>
        <a:p>
          <a:endParaRPr lang="en-GB" sz="1200"/>
        </a:p>
      </dgm:t>
    </dgm:pt>
    <dgm:pt modelId="{AD5BBE98-C0B0-B245-835D-06AB93DB1D02}" type="sibTrans" cxnId="{8D644191-B7CE-2C40-A8E5-0EC40AA5849D}">
      <dgm:prSet/>
      <dgm:spPr/>
      <dgm:t>
        <a:bodyPr/>
        <a:lstStyle/>
        <a:p>
          <a:endParaRPr lang="en-GB" sz="1200"/>
        </a:p>
      </dgm:t>
    </dgm:pt>
    <dgm:pt modelId="{ACE67B27-83D9-6A40-B257-1FC5C8DBE8E4}">
      <dgm:prSet custT="1"/>
      <dgm:spPr/>
      <dgm:t>
        <a:bodyPr/>
        <a:lstStyle/>
        <a:p>
          <a:r>
            <a:rPr lang="en-US" sz="1200"/>
            <a:t>Authentication</a:t>
          </a:r>
          <a:endParaRPr lang="en-IN" sz="1200"/>
        </a:p>
      </dgm:t>
    </dgm:pt>
    <dgm:pt modelId="{4B495967-4D95-0846-8D30-DF69F7450AD5}" type="parTrans" cxnId="{6FA5F07A-2AEF-A745-B89E-05823AFC1F54}">
      <dgm:prSet/>
      <dgm:spPr/>
      <dgm:t>
        <a:bodyPr/>
        <a:lstStyle/>
        <a:p>
          <a:endParaRPr lang="en-GB" sz="1200"/>
        </a:p>
      </dgm:t>
    </dgm:pt>
    <dgm:pt modelId="{FA9E5FBB-0E92-534C-83FC-E5C567457B4E}" type="sibTrans" cxnId="{6FA5F07A-2AEF-A745-B89E-05823AFC1F54}">
      <dgm:prSet/>
      <dgm:spPr/>
      <dgm:t>
        <a:bodyPr/>
        <a:lstStyle/>
        <a:p>
          <a:endParaRPr lang="en-GB" sz="1200"/>
        </a:p>
      </dgm:t>
    </dgm:pt>
    <dgm:pt modelId="{4249E7E7-3596-9842-844C-E083CB5E750E}">
      <dgm:prSet custT="1"/>
      <dgm:spPr/>
      <dgm:t>
        <a:bodyPr/>
        <a:lstStyle/>
        <a:p>
          <a:r>
            <a:rPr lang="en-US" sz="1200"/>
            <a:t>Supports multiple forms (Basic, Digest, OAuth, SAML, X509, JAAS)</a:t>
          </a:r>
          <a:endParaRPr lang="en-IN" sz="1200"/>
        </a:p>
      </dgm:t>
    </dgm:pt>
    <dgm:pt modelId="{1109197A-334F-B249-B127-7753745B372F}" type="parTrans" cxnId="{E565A27A-2A23-934A-9F4E-16B7F66DD030}">
      <dgm:prSet/>
      <dgm:spPr/>
      <dgm:t>
        <a:bodyPr/>
        <a:lstStyle/>
        <a:p>
          <a:endParaRPr lang="en-GB" sz="1200"/>
        </a:p>
      </dgm:t>
    </dgm:pt>
    <dgm:pt modelId="{FB8AFDC3-1F93-634F-9F64-8897DB94C29C}" type="sibTrans" cxnId="{E565A27A-2A23-934A-9F4E-16B7F66DD030}">
      <dgm:prSet/>
      <dgm:spPr/>
      <dgm:t>
        <a:bodyPr/>
        <a:lstStyle/>
        <a:p>
          <a:endParaRPr lang="en-GB" sz="1200"/>
        </a:p>
      </dgm:t>
    </dgm:pt>
    <dgm:pt modelId="{A3C1329F-6292-954A-9D9E-08CFC7D9B3C7}">
      <dgm:prSet custT="1"/>
      <dgm:spPr/>
      <dgm:t>
        <a:bodyPr/>
        <a:lstStyle/>
        <a:p>
          <a:r>
            <a:rPr lang="en-US" sz="1200" dirty="0"/>
            <a:t>Support for different auth stores (Database, LDAP)</a:t>
          </a:r>
          <a:endParaRPr lang="en-IN" sz="1200" dirty="0"/>
        </a:p>
      </dgm:t>
    </dgm:pt>
    <dgm:pt modelId="{7E69B0F3-28C5-E042-BD5B-4CCA26300483}" type="parTrans" cxnId="{58716D5D-5EE4-0A48-9570-7E73BFD7E941}">
      <dgm:prSet/>
      <dgm:spPr/>
      <dgm:t>
        <a:bodyPr/>
        <a:lstStyle/>
        <a:p>
          <a:endParaRPr lang="en-GB" sz="1200"/>
        </a:p>
      </dgm:t>
    </dgm:pt>
    <dgm:pt modelId="{4233F74D-3735-A74D-9BA8-6BCF6B4A2CCD}" type="sibTrans" cxnId="{58716D5D-5EE4-0A48-9570-7E73BFD7E941}">
      <dgm:prSet/>
      <dgm:spPr/>
      <dgm:t>
        <a:bodyPr/>
        <a:lstStyle/>
        <a:p>
          <a:endParaRPr lang="en-GB" sz="1200"/>
        </a:p>
      </dgm:t>
    </dgm:pt>
    <dgm:pt modelId="{17EE334B-A52A-9041-ADF0-D3B0ECEB762B}">
      <dgm:prSet custT="1"/>
      <dgm:spPr/>
      <dgm:t>
        <a:bodyPr/>
        <a:lstStyle/>
        <a:p>
          <a:r>
            <a:rPr lang="en-US" sz="1200"/>
            <a:t>Pluggable password encoding mechanisms (Bcrypt, </a:t>
          </a:r>
          <a:r>
            <a:rPr lang="en-IN" sz="1200"/>
            <a:t>Pbkdf2)</a:t>
          </a:r>
        </a:p>
      </dgm:t>
    </dgm:pt>
    <dgm:pt modelId="{DE593F43-835A-D648-AEC0-C8F07E2A8E09}" type="parTrans" cxnId="{1642F785-9CB8-4642-859B-6EA4E12AF0FA}">
      <dgm:prSet/>
      <dgm:spPr/>
      <dgm:t>
        <a:bodyPr/>
        <a:lstStyle/>
        <a:p>
          <a:endParaRPr lang="en-GB" sz="1200"/>
        </a:p>
      </dgm:t>
    </dgm:pt>
    <dgm:pt modelId="{66467641-6865-874A-AC94-D9EA9E38595B}" type="sibTrans" cxnId="{1642F785-9CB8-4642-859B-6EA4E12AF0FA}">
      <dgm:prSet/>
      <dgm:spPr/>
      <dgm:t>
        <a:bodyPr/>
        <a:lstStyle/>
        <a:p>
          <a:endParaRPr lang="en-GB" sz="1200"/>
        </a:p>
      </dgm:t>
    </dgm:pt>
    <dgm:pt modelId="{43880282-761A-8548-8559-37C4847CA326}">
      <dgm:prSet custT="1"/>
      <dgm:spPr/>
      <dgm:t>
        <a:bodyPr/>
        <a:lstStyle/>
        <a:p>
          <a:r>
            <a:rPr lang="en-US" sz="1200"/>
            <a:t>Authorization</a:t>
          </a:r>
          <a:endParaRPr lang="en-IN" sz="1200"/>
        </a:p>
      </dgm:t>
    </dgm:pt>
    <dgm:pt modelId="{30083A6F-7F70-B644-8ED0-BD68C96F8232}" type="parTrans" cxnId="{FC007204-34FF-244A-8EE1-3FC1CB0EE83F}">
      <dgm:prSet/>
      <dgm:spPr/>
      <dgm:t>
        <a:bodyPr/>
        <a:lstStyle/>
        <a:p>
          <a:endParaRPr lang="en-GB" sz="1200"/>
        </a:p>
      </dgm:t>
    </dgm:pt>
    <dgm:pt modelId="{D61FA9C7-FEE3-9447-AAB8-F658997C2E36}" type="sibTrans" cxnId="{FC007204-34FF-244A-8EE1-3FC1CB0EE83F}">
      <dgm:prSet/>
      <dgm:spPr/>
      <dgm:t>
        <a:bodyPr/>
        <a:lstStyle/>
        <a:p>
          <a:endParaRPr lang="en-GB" sz="1200"/>
        </a:p>
      </dgm:t>
    </dgm:pt>
    <dgm:pt modelId="{C767A100-657D-F54C-B58D-FC2ACA437109}">
      <dgm:prSet custT="1"/>
      <dgm:spPr/>
      <dgm:t>
        <a:bodyPr/>
        <a:lstStyle/>
        <a:p>
          <a:r>
            <a:rPr lang="en-US" sz="1200"/>
            <a:t>Fluent DSL style api to authorize Http Requests</a:t>
          </a:r>
          <a:endParaRPr lang="en-IN" sz="1200"/>
        </a:p>
      </dgm:t>
    </dgm:pt>
    <dgm:pt modelId="{68D78E50-C018-9E4F-8A10-73E64175CA8F}" type="parTrans" cxnId="{563CBD90-8773-EB4C-BB07-9742D09E7909}">
      <dgm:prSet/>
      <dgm:spPr/>
      <dgm:t>
        <a:bodyPr/>
        <a:lstStyle/>
        <a:p>
          <a:endParaRPr lang="en-GB" sz="1200"/>
        </a:p>
      </dgm:t>
    </dgm:pt>
    <dgm:pt modelId="{C6C936B1-EB4C-D44A-97BD-505787ED2BC6}" type="sibTrans" cxnId="{563CBD90-8773-EB4C-BB07-9742D09E7909}">
      <dgm:prSet/>
      <dgm:spPr/>
      <dgm:t>
        <a:bodyPr/>
        <a:lstStyle/>
        <a:p>
          <a:endParaRPr lang="en-GB" sz="1200"/>
        </a:p>
      </dgm:t>
    </dgm:pt>
    <dgm:pt modelId="{1A899132-CCD4-C54A-A259-3962DE9C97F7}">
      <dgm:prSet custT="1"/>
      <dgm:spPr/>
      <dgm:t>
        <a:bodyPr/>
        <a:lstStyle/>
        <a:p>
          <a:r>
            <a:rPr lang="en-US" sz="1200"/>
            <a:t>Expression based access control</a:t>
          </a:r>
          <a:endParaRPr lang="en-IN" sz="1200"/>
        </a:p>
      </dgm:t>
    </dgm:pt>
    <dgm:pt modelId="{F5A321C4-2448-DD40-8393-99C81E0E189F}" type="parTrans" cxnId="{34357D64-2703-6F42-A87F-105381A888E0}">
      <dgm:prSet/>
      <dgm:spPr/>
      <dgm:t>
        <a:bodyPr/>
        <a:lstStyle/>
        <a:p>
          <a:endParaRPr lang="en-GB" sz="1200"/>
        </a:p>
      </dgm:t>
    </dgm:pt>
    <dgm:pt modelId="{7609AF1F-7D68-0245-9CDB-DC85F18AE91F}" type="sibTrans" cxnId="{34357D64-2703-6F42-A87F-105381A888E0}">
      <dgm:prSet/>
      <dgm:spPr/>
      <dgm:t>
        <a:bodyPr/>
        <a:lstStyle/>
        <a:p>
          <a:endParaRPr lang="en-GB" sz="1200"/>
        </a:p>
      </dgm:t>
    </dgm:pt>
    <dgm:pt modelId="{DEEC326D-4825-5F4F-8DC4-E6DBA13A2B3E}">
      <dgm:prSet custT="1"/>
      <dgm:spPr/>
      <dgm:t>
        <a:bodyPr/>
        <a:lstStyle/>
        <a:p>
          <a:r>
            <a:rPr lang="en-US" sz="1200" dirty="0"/>
            <a:t>Method Level security</a:t>
          </a:r>
          <a:endParaRPr lang="en-IN" sz="1200" dirty="0"/>
        </a:p>
      </dgm:t>
    </dgm:pt>
    <dgm:pt modelId="{724BCC83-5904-A844-8E31-DD09DA4FEEF0}" type="parTrans" cxnId="{8EB44311-C1E2-524A-BEBE-E3228A42BC53}">
      <dgm:prSet/>
      <dgm:spPr/>
      <dgm:t>
        <a:bodyPr/>
        <a:lstStyle/>
        <a:p>
          <a:endParaRPr lang="en-GB" sz="1200"/>
        </a:p>
      </dgm:t>
    </dgm:pt>
    <dgm:pt modelId="{5695F6A0-EDDE-AB4D-B09B-5C61D722CF9B}" type="sibTrans" cxnId="{8EB44311-C1E2-524A-BEBE-E3228A42BC53}">
      <dgm:prSet/>
      <dgm:spPr/>
      <dgm:t>
        <a:bodyPr/>
        <a:lstStyle/>
        <a:p>
          <a:endParaRPr lang="en-GB" sz="1200"/>
        </a:p>
      </dgm:t>
    </dgm:pt>
    <dgm:pt modelId="{45061745-72BC-5846-84F7-103054A13D34}">
      <dgm:prSet custT="1"/>
      <dgm:spPr/>
      <dgm:t>
        <a:bodyPr/>
        <a:lstStyle/>
        <a:p>
          <a:r>
            <a:rPr lang="en-US" sz="1200"/>
            <a:t>Domain Object Security (ACLs)</a:t>
          </a:r>
          <a:endParaRPr lang="en-IN" sz="1200"/>
        </a:p>
      </dgm:t>
    </dgm:pt>
    <dgm:pt modelId="{73A61C53-81AC-C44B-BA6F-2D035E738731}" type="parTrans" cxnId="{0598CE3F-B312-2843-B50D-45244E7298A5}">
      <dgm:prSet/>
      <dgm:spPr/>
      <dgm:t>
        <a:bodyPr/>
        <a:lstStyle/>
        <a:p>
          <a:endParaRPr lang="en-GB" sz="1200"/>
        </a:p>
      </dgm:t>
    </dgm:pt>
    <dgm:pt modelId="{AC019523-3757-7E4A-B558-31750D204D93}" type="sibTrans" cxnId="{0598CE3F-B312-2843-B50D-45244E7298A5}">
      <dgm:prSet/>
      <dgm:spPr/>
      <dgm:t>
        <a:bodyPr/>
        <a:lstStyle/>
        <a:p>
          <a:endParaRPr lang="en-GB" sz="1200"/>
        </a:p>
      </dgm:t>
    </dgm:pt>
    <dgm:pt modelId="{6F09DF38-4BE2-014D-A2D5-DFA14AC0B95D}">
      <dgm:prSet custT="1"/>
      <dgm:spPr/>
      <dgm:t>
        <a:bodyPr/>
        <a:lstStyle/>
        <a:p>
          <a:r>
            <a:rPr lang="en-US" sz="1200"/>
            <a:t>Common Exploit Protection</a:t>
          </a:r>
          <a:endParaRPr lang="en-IN" sz="1200"/>
        </a:p>
      </dgm:t>
    </dgm:pt>
    <dgm:pt modelId="{55675E56-A7D9-674C-A87B-E94C2C72272E}" type="parTrans" cxnId="{B2F15243-D7C9-0E4F-B858-A56E5DC973AF}">
      <dgm:prSet/>
      <dgm:spPr/>
      <dgm:t>
        <a:bodyPr/>
        <a:lstStyle/>
        <a:p>
          <a:endParaRPr lang="en-GB" sz="1200"/>
        </a:p>
      </dgm:t>
    </dgm:pt>
    <dgm:pt modelId="{02CA82B0-2C79-BD4F-904B-28EC692574EA}" type="sibTrans" cxnId="{B2F15243-D7C9-0E4F-B858-A56E5DC973AF}">
      <dgm:prSet/>
      <dgm:spPr/>
      <dgm:t>
        <a:bodyPr/>
        <a:lstStyle/>
        <a:p>
          <a:endParaRPr lang="en-GB" sz="1200"/>
        </a:p>
      </dgm:t>
    </dgm:pt>
    <dgm:pt modelId="{BFF0D873-4532-6943-B71C-E3C5D4D818F3}">
      <dgm:prSet custT="1"/>
      <dgm:spPr/>
      <dgm:t>
        <a:bodyPr/>
        <a:lstStyle/>
        <a:p>
          <a:r>
            <a:rPr lang="en-IN" sz="1200"/>
            <a:t>Cross-Site-Request-Forgery: CSRF</a:t>
          </a:r>
        </a:p>
      </dgm:t>
    </dgm:pt>
    <dgm:pt modelId="{5739B83E-B454-3342-9BD0-56FEF79A5D01}" type="parTrans" cxnId="{DD29F86C-27E9-C349-9A3C-835C45D462A5}">
      <dgm:prSet/>
      <dgm:spPr/>
      <dgm:t>
        <a:bodyPr/>
        <a:lstStyle/>
        <a:p>
          <a:endParaRPr lang="en-GB" sz="1200"/>
        </a:p>
      </dgm:t>
    </dgm:pt>
    <dgm:pt modelId="{534B7378-4D3D-2A4A-9FB4-19D523AD9741}" type="sibTrans" cxnId="{DD29F86C-27E9-C349-9A3C-835C45D462A5}">
      <dgm:prSet/>
      <dgm:spPr/>
      <dgm:t>
        <a:bodyPr/>
        <a:lstStyle/>
        <a:p>
          <a:endParaRPr lang="en-GB" sz="1200"/>
        </a:p>
      </dgm:t>
    </dgm:pt>
    <dgm:pt modelId="{1DE2CA06-C822-F84E-8114-C57F99AC3203}">
      <dgm:prSet custT="1"/>
      <dgm:spPr/>
      <dgm:t>
        <a:bodyPr/>
        <a:lstStyle/>
        <a:p>
          <a:r>
            <a:rPr lang="en-US" sz="1200"/>
            <a:t>Http Response Headers</a:t>
          </a:r>
          <a:endParaRPr lang="en-IN" sz="1200"/>
        </a:p>
      </dgm:t>
    </dgm:pt>
    <dgm:pt modelId="{939DD7C2-44F5-7A49-B5A2-032F523FDE86}" type="parTrans" cxnId="{B053F9AE-85E1-BF4F-95D6-5BA0B086EAE9}">
      <dgm:prSet/>
      <dgm:spPr/>
      <dgm:t>
        <a:bodyPr/>
        <a:lstStyle/>
        <a:p>
          <a:endParaRPr lang="en-GB" sz="1200"/>
        </a:p>
      </dgm:t>
    </dgm:pt>
    <dgm:pt modelId="{316C53DD-A796-3843-8B65-CBD56D5EA40E}" type="sibTrans" cxnId="{B053F9AE-85E1-BF4F-95D6-5BA0B086EAE9}">
      <dgm:prSet/>
      <dgm:spPr/>
      <dgm:t>
        <a:bodyPr/>
        <a:lstStyle/>
        <a:p>
          <a:endParaRPr lang="en-GB" sz="1200"/>
        </a:p>
      </dgm:t>
    </dgm:pt>
    <dgm:pt modelId="{DCA85F71-B36E-844B-98C4-48655F4E265B}">
      <dgm:prSet custT="1"/>
      <dgm:spPr/>
      <dgm:t>
        <a:bodyPr/>
        <a:lstStyle/>
        <a:p>
          <a:r>
            <a:rPr lang="en-IN" sz="1200" dirty="0"/>
            <a:t>Strict Transport Security</a:t>
          </a:r>
        </a:p>
      </dgm:t>
    </dgm:pt>
    <dgm:pt modelId="{EE37753D-1678-BF47-B32E-0A3A4717E6F5}" type="parTrans" cxnId="{1F1FA058-C78C-D649-BF43-F58585CF8DA5}">
      <dgm:prSet/>
      <dgm:spPr/>
      <dgm:t>
        <a:bodyPr/>
        <a:lstStyle/>
        <a:p>
          <a:endParaRPr lang="en-GB" sz="1200"/>
        </a:p>
      </dgm:t>
    </dgm:pt>
    <dgm:pt modelId="{80DED161-F6F8-2640-867C-47EE03135D87}" type="sibTrans" cxnId="{1F1FA058-C78C-D649-BF43-F58585CF8DA5}">
      <dgm:prSet/>
      <dgm:spPr/>
      <dgm:t>
        <a:bodyPr/>
        <a:lstStyle/>
        <a:p>
          <a:endParaRPr lang="en-GB" sz="1200"/>
        </a:p>
      </dgm:t>
    </dgm:pt>
    <dgm:pt modelId="{08EA9836-2153-654B-854F-AE7473E6FD88}">
      <dgm:prSet custT="1"/>
      <dgm:spPr/>
      <dgm:t>
        <a:bodyPr/>
        <a:lstStyle/>
        <a:p>
          <a:r>
            <a:rPr lang="en-US" sz="1200" dirty="0"/>
            <a:t>Built on-top of Spring</a:t>
          </a:r>
          <a:endParaRPr lang="en-IN" sz="1200" dirty="0"/>
        </a:p>
      </dgm:t>
    </dgm:pt>
    <dgm:pt modelId="{CCE9C35D-8410-8445-AA0B-9699BEB43988}" type="parTrans" cxnId="{DD829482-5DE7-434A-837B-0C2D26B90528}">
      <dgm:prSet/>
      <dgm:spPr/>
      <dgm:t>
        <a:bodyPr/>
        <a:lstStyle/>
        <a:p>
          <a:endParaRPr lang="en-GB" sz="1200"/>
        </a:p>
      </dgm:t>
    </dgm:pt>
    <dgm:pt modelId="{1EACD258-488C-DB49-9BC8-1A202CFE4850}" type="sibTrans" cxnId="{DD829482-5DE7-434A-837B-0C2D26B90528}">
      <dgm:prSet/>
      <dgm:spPr/>
      <dgm:t>
        <a:bodyPr/>
        <a:lstStyle/>
        <a:p>
          <a:endParaRPr lang="en-GB" sz="1200"/>
        </a:p>
      </dgm:t>
    </dgm:pt>
    <dgm:pt modelId="{7882588E-DD14-FF43-B452-3FF29DCB2257}">
      <dgm:prSet custT="1"/>
      <dgm:spPr/>
      <dgm:t>
        <a:bodyPr/>
        <a:lstStyle/>
        <a:p>
          <a:r>
            <a:rPr lang="en-IN" sz="1200" dirty="0" err="1"/>
            <a:t>HTTPFirewall</a:t>
          </a:r>
          <a:endParaRPr lang="en-IN" sz="1200" dirty="0"/>
        </a:p>
      </dgm:t>
    </dgm:pt>
    <dgm:pt modelId="{35C81864-560C-AB46-B404-E40864A78BC6}" type="parTrans" cxnId="{141FBF58-18EA-F24D-B5FE-7313FCAADC05}">
      <dgm:prSet/>
      <dgm:spPr/>
      <dgm:t>
        <a:bodyPr/>
        <a:lstStyle/>
        <a:p>
          <a:endParaRPr lang="en-GB"/>
        </a:p>
      </dgm:t>
    </dgm:pt>
    <dgm:pt modelId="{C6B67572-75EA-164E-89A6-F8FDC2A3DAB2}" type="sibTrans" cxnId="{141FBF58-18EA-F24D-B5FE-7313FCAADC05}">
      <dgm:prSet/>
      <dgm:spPr/>
      <dgm:t>
        <a:bodyPr/>
        <a:lstStyle/>
        <a:p>
          <a:endParaRPr lang="en-GB"/>
        </a:p>
      </dgm:t>
    </dgm:pt>
    <dgm:pt modelId="{E07C6833-62C5-E64F-BE84-D60A064CE579}">
      <dgm:prSet custT="1"/>
      <dgm:spPr/>
      <dgm:t>
        <a:bodyPr/>
        <a:lstStyle/>
        <a:p>
          <a:r>
            <a:rPr lang="en-IN" sz="1200" dirty="0"/>
            <a:t>URL level security</a:t>
          </a:r>
        </a:p>
      </dgm:t>
    </dgm:pt>
    <dgm:pt modelId="{2AFE3403-F6E2-F444-801B-43D49E2508E0}" type="parTrans" cxnId="{C6669048-E1AC-3048-BA62-7C5CA7F48487}">
      <dgm:prSet/>
      <dgm:spPr/>
      <dgm:t>
        <a:bodyPr/>
        <a:lstStyle/>
        <a:p>
          <a:endParaRPr lang="en-GB"/>
        </a:p>
      </dgm:t>
    </dgm:pt>
    <dgm:pt modelId="{98E41301-09A1-A045-93D4-2722CDD36B45}" type="sibTrans" cxnId="{C6669048-E1AC-3048-BA62-7C5CA7F48487}">
      <dgm:prSet/>
      <dgm:spPr/>
      <dgm:t>
        <a:bodyPr/>
        <a:lstStyle/>
        <a:p>
          <a:endParaRPr lang="en-GB"/>
        </a:p>
      </dgm:t>
    </dgm:pt>
    <dgm:pt modelId="{5011F904-EC99-C444-B9D6-571187B9BB42}">
      <dgm:prSet custT="1"/>
      <dgm:spPr/>
      <dgm:t>
        <a:bodyPr/>
        <a:lstStyle/>
        <a:p>
          <a:r>
            <a:rPr lang="en-IN" sz="1200" dirty="0"/>
            <a:t>Well Documented</a:t>
          </a:r>
        </a:p>
      </dgm:t>
    </dgm:pt>
    <dgm:pt modelId="{BA26E513-E58C-1D41-ABBB-7168EDE7854C}" type="parTrans" cxnId="{6F3E971D-B89B-A74D-A591-EB8296264A5C}">
      <dgm:prSet/>
      <dgm:spPr/>
      <dgm:t>
        <a:bodyPr/>
        <a:lstStyle/>
        <a:p>
          <a:endParaRPr lang="en-GB"/>
        </a:p>
      </dgm:t>
    </dgm:pt>
    <dgm:pt modelId="{4BF9A838-66AD-574C-8492-399F220227A3}" type="sibTrans" cxnId="{6F3E971D-B89B-A74D-A591-EB8296264A5C}">
      <dgm:prSet/>
      <dgm:spPr/>
      <dgm:t>
        <a:bodyPr/>
        <a:lstStyle/>
        <a:p>
          <a:endParaRPr lang="en-GB"/>
        </a:p>
      </dgm:t>
    </dgm:pt>
    <dgm:pt modelId="{FA04DD0D-292C-2546-AD38-0A7DBAE29EF8}">
      <dgm:prSet custT="1"/>
      <dgm:spPr/>
      <dgm:t>
        <a:bodyPr/>
        <a:lstStyle/>
        <a:p>
          <a:r>
            <a:rPr lang="en-IN" sz="1200" dirty="0"/>
            <a:t>Great Community Support</a:t>
          </a:r>
        </a:p>
      </dgm:t>
    </dgm:pt>
    <dgm:pt modelId="{AB1CD772-9014-3D46-B752-DD5B781BB81E}" type="parTrans" cxnId="{806584BA-13B7-4F48-8537-4D789BB2DE09}">
      <dgm:prSet/>
      <dgm:spPr/>
      <dgm:t>
        <a:bodyPr/>
        <a:lstStyle/>
        <a:p>
          <a:endParaRPr lang="en-GB"/>
        </a:p>
      </dgm:t>
    </dgm:pt>
    <dgm:pt modelId="{7A2E9929-661E-BF42-81CB-5D7C6AE45228}" type="sibTrans" cxnId="{806584BA-13B7-4F48-8537-4D789BB2DE09}">
      <dgm:prSet/>
      <dgm:spPr/>
      <dgm:t>
        <a:bodyPr/>
        <a:lstStyle/>
        <a:p>
          <a:endParaRPr lang="en-GB"/>
        </a:p>
      </dgm:t>
    </dgm:pt>
    <dgm:pt modelId="{F4DBFCE9-C18E-6649-B688-6DBE9EB97F5E}">
      <dgm:prSet custT="1"/>
      <dgm:spPr/>
      <dgm:t>
        <a:bodyPr/>
        <a:lstStyle/>
        <a:p>
          <a:r>
            <a:rPr lang="en-IN" sz="1200" dirty="0"/>
            <a:t>Alive and Kicking</a:t>
          </a:r>
        </a:p>
      </dgm:t>
    </dgm:pt>
    <dgm:pt modelId="{4EE5E359-F12F-ED4B-87B0-76F205254BC8}" type="parTrans" cxnId="{53BBFA43-55E1-BD45-BE7D-89656B016E1D}">
      <dgm:prSet/>
      <dgm:spPr/>
      <dgm:t>
        <a:bodyPr/>
        <a:lstStyle/>
        <a:p>
          <a:endParaRPr lang="en-GB"/>
        </a:p>
      </dgm:t>
    </dgm:pt>
    <dgm:pt modelId="{AFEC70D4-E6DD-764D-ACE2-A73D0310DAF4}" type="sibTrans" cxnId="{53BBFA43-55E1-BD45-BE7D-89656B016E1D}">
      <dgm:prSet/>
      <dgm:spPr/>
      <dgm:t>
        <a:bodyPr/>
        <a:lstStyle/>
        <a:p>
          <a:endParaRPr lang="en-GB"/>
        </a:p>
      </dgm:t>
    </dgm:pt>
    <dgm:pt modelId="{6F5C5068-665B-AC4D-B587-ED08661D4E49}" type="pres">
      <dgm:prSet presAssocID="{F00925BE-C16B-DB41-9098-F4204EDB1D90}" presName="diagram" presStyleCnt="0">
        <dgm:presLayoutVars>
          <dgm:dir/>
          <dgm:animLvl val="lvl"/>
          <dgm:resizeHandles val="exact"/>
        </dgm:presLayoutVars>
      </dgm:prSet>
      <dgm:spPr/>
    </dgm:pt>
    <dgm:pt modelId="{8A5E40D2-E0E2-EE44-966D-CE8D099A2AD1}" type="pres">
      <dgm:prSet presAssocID="{A946C6A9-E8D4-EF4A-B6AA-8BCF90D79EBF}" presName="compNode" presStyleCnt="0"/>
      <dgm:spPr/>
    </dgm:pt>
    <dgm:pt modelId="{E1512F41-4692-9F46-A305-1E15BAD14BA8}" type="pres">
      <dgm:prSet presAssocID="{A946C6A9-E8D4-EF4A-B6AA-8BCF90D79EBF}" presName="childRect" presStyleLbl="bgAcc1" presStyleIdx="0" presStyleCnt="4">
        <dgm:presLayoutVars>
          <dgm:bulletEnabled val="1"/>
        </dgm:presLayoutVars>
      </dgm:prSet>
      <dgm:spPr/>
    </dgm:pt>
    <dgm:pt modelId="{F360EAB9-37F9-B743-AC56-9D447D349556}" type="pres">
      <dgm:prSet presAssocID="{A946C6A9-E8D4-EF4A-B6AA-8BCF90D79EB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3443604-5C8F-6B48-B29E-2E121DC84D02}" type="pres">
      <dgm:prSet presAssocID="{A946C6A9-E8D4-EF4A-B6AA-8BCF90D79EBF}" presName="parentRect" presStyleLbl="alignNode1" presStyleIdx="0" presStyleCnt="4"/>
      <dgm:spPr/>
    </dgm:pt>
    <dgm:pt modelId="{22FAC088-1754-154B-9E61-CE82340E4780}" type="pres">
      <dgm:prSet presAssocID="{A946C6A9-E8D4-EF4A-B6AA-8BCF90D79EBF}" presName="adorn" presStyleLbl="fgAccFollow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9C14B34B-9450-9C48-A858-03EFCB2FF8AB}" type="pres">
      <dgm:prSet presAssocID="{4DD06CBE-50A4-7B4E-94F4-C107566368A4}" presName="sibTrans" presStyleLbl="sibTrans2D1" presStyleIdx="0" presStyleCnt="0"/>
      <dgm:spPr/>
    </dgm:pt>
    <dgm:pt modelId="{80132C6A-F006-FC4F-BE8A-EB4C8C0614EC}" type="pres">
      <dgm:prSet presAssocID="{ACE67B27-83D9-6A40-B257-1FC5C8DBE8E4}" presName="compNode" presStyleCnt="0"/>
      <dgm:spPr/>
    </dgm:pt>
    <dgm:pt modelId="{52912559-19FC-8449-98D2-922832410BAF}" type="pres">
      <dgm:prSet presAssocID="{ACE67B27-83D9-6A40-B257-1FC5C8DBE8E4}" presName="childRect" presStyleLbl="bgAcc1" presStyleIdx="1" presStyleCnt="4">
        <dgm:presLayoutVars>
          <dgm:bulletEnabled val="1"/>
        </dgm:presLayoutVars>
      </dgm:prSet>
      <dgm:spPr/>
    </dgm:pt>
    <dgm:pt modelId="{45F7DD78-FDE2-E343-B80F-46CC03FDE5A8}" type="pres">
      <dgm:prSet presAssocID="{ACE67B27-83D9-6A40-B257-1FC5C8DBE8E4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1A4CD6C4-09C1-4249-BAD9-BDA13013B36D}" type="pres">
      <dgm:prSet presAssocID="{ACE67B27-83D9-6A40-B257-1FC5C8DBE8E4}" presName="parentRect" presStyleLbl="alignNode1" presStyleIdx="1" presStyleCnt="4"/>
      <dgm:spPr/>
    </dgm:pt>
    <dgm:pt modelId="{E60E7041-B1BB-7D4A-99A9-7F58E7C646E0}" type="pres">
      <dgm:prSet presAssocID="{ACE67B27-83D9-6A40-B257-1FC5C8DBE8E4}" presName="adorn" presStyleLbl="fgAccFollow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1CF4D9D5-7E3D-AC49-990F-38E1C7701FE5}" type="pres">
      <dgm:prSet presAssocID="{FA9E5FBB-0E92-534C-83FC-E5C567457B4E}" presName="sibTrans" presStyleLbl="sibTrans2D1" presStyleIdx="0" presStyleCnt="0"/>
      <dgm:spPr/>
    </dgm:pt>
    <dgm:pt modelId="{135F2FD2-DC2F-CC40-8A96-10B6AAD0DD00}" type="pres">
      <dgm:prSet presAssocID="{43880282-761A-8548-8559-37C4847CA326}" presName="compNode" presStyleCnt="0"/>
      <dgm:spPr/>
    </dgm:pt>
    <dgm:pt modelId="{B54911E9-D956-1740-8384-D6F369D1EC17}" type="pres">
      <dgm:prSet presAssocID="{43880282-761A-8548-8559-37C4847CA326}" presName="childRect" presStyleLbl="bgAcc1" presStyleIdx="2" presStyleCnt="4">
        <dgm:presLayoutVars>
          <dgm:bulletEnabled val="1"/>
        </dgm:presLayoutVars>
      </dgm:prSet>
      <dgm:spPr/>
    </dgm:pt>
    <dgm:pt modelId="{A404095F-6803-8242-B548-161D168066C4}" type="pres">
      <dgm:prSet presAssocID="{43880282-761A-8548-8559-37C4847CA326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A7C31812-A1C1-BC4C-A0FB-E30ABB310D2E}" type="pres">
      <dgm:prSet presAssocID="{43880282-761A-8548-8559-37C4847CA326}" presName="parentRect" presStyleLbl="alignNode1" presStyleIdx="2" presStyleCnt="4"/>
      <dgm:spPr/>
    </dgm:pt>
    <dgm:pt modelId="{554DAF9F-8686-0D4F-B0BB-9AAB4D7DD81D}" type="pres">
      <dgm:prSet presAssocID="{43880282-761A-8548-8559-37C4847CA326}" presName="adorn" presStyleLbl="fgAccFollowNod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</dgm:spPr>
    </dgm:pt>
    <dgm:pt modelId="{B71AB22C-9603-CB43-96C7-5CE7E14AF2BD}" type="pres">
      <dgm:prSet presAssocID="{D61FA9C7-FEE3-9447-AAB8-F658997C2E36}" presName="sibTrans" presStyleLbl="sibTrans2D1" presStyleIdx="0" presStyleCnt="0"/>
      <dgm:spPr/>
    </dgm:pt>
    <dgm:pt modelId="{F7532B4B-8018-A942-B11B-3E1E8377953D}" type="pres">
      <dgm:prSet presAssocID="{6F09DF38-4BE2-014D-A2D5-DFA14AC0B95D}" presName="compNode" presStyleCnt="0"/>
      <dgm:spPr/>
    </dgm:pt>
    <dgm:pt modelId="{E6D5B776-DD11-AA41-99E0-C894031180D7}" type="pres">
      <dgm:prSet presAssocID="{6F09DF38-4BE2-014D-A2D5-DFA14AC0B95D}" presName="childRect" presStyleLbl="bgAcc1" presStyleIdx="3" presStyleCnt="4">
        <dgm:presLayoutVars>
          <dgm:bulletEnabled val="1"/>
        </dgm:presLayoutVars>
      </dgm:prSet>
      <dgm:spPr/>
    </dgm:pt>
    <dgm:pt modelId="{E8446180-6158-FF46-A0C3-C3BE89682CCB}" type="pres">
      <dgm:prSet presAssocID="{6F09DF38-4BE2-014D-A2D5-DFA14AC0B95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A1D96DB0-B1E9-4E47-A529-972C00383300}" type="pres">
      <dgm:prSet presAssocID="{6F09DF38-4BE2-014D-A2D5-DFA14AC0B95D}" presName="parentRect" presStyleLbl="alignNode1" presStyleIdx="3" presStyleCnt="4"/>
      <dgm:spPr/>
    </dgm:pt>
    <dgm:pt modelId="{9512B302-D3E6-5045-B7BC-6802F7D25C9C}" type="pres">
      <dgm:prSet presAssocID="{6F09DF38-4BE2-014D-A2D5-DFA14AC0B95D}" presName="adorn" presStyleLbl="fgAccFollowNod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</dgm:ptLst>
  <dgm:cxnLst>
    <dgm:cxn modelId="{547D1B04-5ABB-B041-AD66-2D274B319D14}" type="presOf" srcId="{A946C6A9-E8D4-EF4A-B6AA-8BCF90D79EBF}" destId="{43443604-5C8F-6B48-B29E-2E121DC84D02}" srcOrd="1" destOrd="0" presId="urn:microsoft.com/office/officeart/2005/8/layout/bList2"/>
    <dgm:cxn modelId="{FC007204-34FF-244A-8EE1-3FC1CB0EE83F}" srcId="{F00925BE-C16B-DB41-9098-F4204EDB1D90}" destId="{43880282-761A-8548-8559-37C4847CA326}" srcOrd="2" destOrd="0" parTransId="{30083A6F-7F70-B644-8ED0-BD68C96F8232}" sibTransId="{D61FA9C7-FEE3-9447-AAB8-F658997C2E36}"/>
    <dgm:cxn modelId="{34CA810C-D9A4-2140-8338-10C9FA9EEFAB}" type="presOf" srcId="{43880282-761A-8548-8559-37C4847CA326}" destId="{A7C31812-A1C1-BC4C-A0FB-E30ABB310D2E}" srcOrd="1" destOrd="0" presId="urn:microsoft.com/office/officeart/2005/8/layout/bList2"/>
    <dgm:cxn modelId="{5010800F-D586-1A4F-9797-4BBD0B292412}" type="presOf" srcId="{F4DBFCE9-C18E-6649-B688-6DBE9EB97F5E}" destId="{E1512F41-4692-9F46-A305-1E15BAD14BA8}" srcOrd="0" destOrd="4" presId="urn:microsoft.com/office/officeart/2005/8/layout/bList2"/>
    <dgm:cxn modelId="{8EB44311-C1E2-524A-BEBE-E3228A42BC53}" srcId="{43880282-761A-8548-8559-37C4847CA326}" destId="{DEEC326D-4825-5F4F-8DC4-E6DBA13A2B3E}" srcOrd="3" destOrd="0" parTransId="{724BCC83-5904-A844-8E31-DD09DA4FEEF0}" sibTransId="{5695F6A0-EDDE-AB4D-B09B-5C61D722CF9B}"/>
    <dgm:cxn modelId="{6F3E971D-B89B-A74D-A591-EB8296264A5C}" srcId="{A946C6A9-E8D4-EF4A-B6AA-8BCF90D79EBF}" destId="{5011F904-EC99-C444-B9D6-571187B9BB42}" srcOrd="2" destOrd="0" parTransId="{BA26E513-E58C-1D41-ABBB-7168EDE7854C}" sibTransId="{4BF9A838-66AD-574C-8492-399F220227A3}"/>
    <dgm:cxn modelId="{54960322-325E-8D4F-8A20-FA2CA19F15F6}" type="presOf" srcId="{43880282-761A-8548-8559-37C4847CA326}" destId="{A404095F-6803-8242-B548-161D168066C4}" srcOrd="0" destOrd="0" presId="urn:microsoft.com/office/officeart/2005/8/layout/bList2"/>
    <dgm:cxn modelId="{759D2322-5CEA-874D-A31C-CE9A0E046CCE}" srcId="{F00925BE-C16B-DB41-9098-F4204EDB1D90}" destId="{A946C6A9-E8D4-EF4A-B6AA-8BCF90D79EBF}" srcOrd="0" destOrd="0" parTransId="{A8253324-CDD1-0A45-9336-C40B920B5382}" sibTransId="{4DD06CBE-50A4-7B4E-94F4-C107566368A4}"/>
    <dgm:cxn modelId="{871A8727-5D44-B047-BE5B-91931C58BB33}" type="presOf" srcId="{E07C6833-62C5-E64F-BE84-D60A064CE579}" destId="{B54911E9-D956-1740-8384-D6F369D1EC17}" srcOrd="0" destOrd="2" presId="urn:microsoft.com/office/officeart/2005/8/layout/bList2"/>
    <dgm:cxn modelId="{91595636-6597-3F49-8472-08D16865DEF3}" type="presOf" srcId="{1DE2CA06-C822-F84E-8114-C57F99AC3203}" destId="{E6D5B776-DD11-AA41-99E0-C894031180D7}" srcOrd="0" destOrd="1" presId="urn:microsoft.com/office/officeart/2005/8/layout/bList2"/>
    <dgm:cxn modelId="{0598CE3F-B312-2843-B50D-45244E7298A5}" srcId="{43880282-761A-8548-8559-37C4847CA326}" destId="{45061745-72BC-5846-84F7-103054A13D34}" srcOrd="4" destOrd="0" parTransId="{73A61C53-81AC-C44B-BA6F-2D035E738731}" sibTransId="{AC019523-3757-7E4A-B558-31750D204D93}"/>
    <dgm:cxn modelId="{B7929541-6085-3A47-84C4-4CF0F36DE71A}" type="presOf" srcId="{6F09DF38-4BE2-014D-A2D5-DFA14AC0B95D}" destId="{E8446180-6158-FF46-A0C3-C3BE89682CCB}" srcOrd="0" destOrd="0" presId="urn:microsoft.com/office/officeart/2005/8/layout/bList2"/>
    <dgm:cxn modelId="{9C196442-C665-D343-8D89-0A944F4DD776}" type="presOf" srcId="{5011F904-EC99-C444-B9D6-571187B9BB42}" destId="{E1512F41-4692-9F46-A305-1E15BAD14BA8}" srcOrd="0" destOrd="2" presId="urn:microsoft.com/office/officeart/2005/8/layout/bList2"/>
    <dgm:cxn modelId="{B2F15243-D7C9-0E4F-B858-A56E5DC973AF}" srcId="{F00925BE-C16B-DB41-9098-F4204EDB1D90}" destId="{6F09DF38-4BE2-014D-A2D5-DFA14AC0B95D}" srcOrd="3" destOrd="0" parTransId="{55675E56-A7D9-674C-A87B-E94C2C72272E}" sibTransId="{02CA82B0-2C79-BD4F-904B-28EC692574EA}"/>
    <dgm:cxn modelId="{53BBFA43-55E1-BD45-BE7D-89656B016E1D}" srcId="{A946C6A9-E8D4-EF4A-B6AA-8BCF90D79EBF}" destId="{F4DBFCE9-C18E-6649-B688-6DBE9EB97F5E}" srcOrd="4" destOrd="0" parTransId="{4EE5E359-F12F-ED4B-87B0-76F205254BC8}" sibTransId="{AFEC70D4-E6DD-764D-ACE2-A73D0310DAF4}"/>
    <dgm:cxn modelId="{C6669048-E1AC-3048-BA62-7C5CA7F48487}" srcId="{43880282-761A-8548-8559-37C4847CA326}" destId="{E07C6833-62C5-E64F-BE84-D60A064CE579}" srcOrd="2" destOrd="0" parTransId="{2AFE3403-F6E2-F444-801B-43D49E2508E0}" sibTransId="{98E41301-09A1-A045-93D4-2722CDD36B45}"/>
    <dgm:cxn modelId="{43451149-CE23-8B42-9D5F-635269E19A9B}" type="presOf" srcId="{FA04DD0D-292C-2546-AD38-0A7DBAE29EF8}" destId="{E1512F41-4692-9F46-A305-1E15BAD14BA8}" srcOrd="0" destOrd="3" presId="urn:microsoft.com/office/officeart/2005/8/layout/bList2"/>
    <dgm:cxn modelId="{61508E49-20FA-FE45-B18A-B49CD19D1037}" type="presOf" srcId="{45061745-72BC-5846-84F7-103054A13D34}" destId="{B54911E9-D956-1740-8384-D6F369D1EC17}" srcOrd="0" destOrd="4" presId="urn:microsoft.com/office/officeart/2005/8/layout/bList2"/>
    <dgm:cxn modelId="{29D21F51-C452-4145-A649-5CB4E5040BDD}" type="presOf" srcId="{4DD06CBE-50A4-7B4E-94F4-C107566368A4}" destId="{9C14B34B-9450-9C48-A858-03EFCB2FF8AB}" srcOrd="0" destOrd="0" presId="urn:microsoft.com/office/officeart/2005/8/layout/bList2"/>
    <dgm:cxn modelId="{C6AA6A54-534A-7344-B666-5D9B275CDD67}" type="presOf" srcId="{A3C1329F-6292-954A-9D9E-08CFC7D9B3C7}" destId="{52912559-19FC-8449-98D2-922832410BAF}" srcOrd="0" destOrd="1" presId="urn:microsoft.com/office/officeart/2005/8/layout/bList2"/>
    <dgm:cxn modelId="{1F1FA058-C78C-D649-BF43-F58585CF8DA5}" srcId="{6F09DF38-4BE2-014D-A2D5-DFA14AC0B95D}" destId="{DCA85F71-B36E-844B-98C4-48655F4E265B}" srcOrd="2" destOrd="0" parTransId="{EE37753D-1678-BF47-B32E-0A3A4717E6F5}" sibTransId="{80DED161-F6F8-2640-867C-47EE03135D87}"/>
    <dgm:cxn modelId="{141FBF58-18EA-F24D-B5FE-7313FCAADC05}" srcId="{6F09DF38-4BE2-014D-A2D5-DFA14AC0B95D}" destId="{7882588E-DD14-FF43-B452-3FF29DCB2257}" srcOrd="3" destOrd="0" parTransId="{35C81864-560C-AB46-B404-E40864A78BC6}" sibTransId="{C6B67572-75EA-164E-89A6-F8FDC2A3DAB2}"/>
    <dgm:cxn modelId="{58716D5D-5EE4-0A48-9570-7E73BFD7E941}" srcId="{ACE67B27-83D9-6A40-B257-1FC5C8DBE8E4}" destId="{A3C1329F-6292-954A-9D9E-08CFC7D9B3C7}" srcOrd="1" destOrd="0" parTransId="{7E69B0F3-28C5-E042-BD5B-4CCA26300483}" sibTransId="{4233F74D-3735-A74D-9BA8-6BCF6B4A2CCD}"/>
    <dgm:cxn modelId="{530C0560-D6F9-5D44-99D9-7B2B0111F50D}" type="presOf" srcId="{ACE67B27-83D9-6A40-B257-1FC5C8DBE8E4}" destId="{1A4CD6C4-09C1-4249-BAD9-BDA13013B36D}" srcOrd="1" destOrd="0" presId="urn:microsoft.com/office/officeart/2005/8/layout/bList2"/>
    <dgm:cxn modelId="{6BDFF962-1AF8-334F-989C-EB6AC70C49F7}" type="presOf" srcId="{1A899132-CCD4-C54A-A259-3962DE9C97F7}" destId="{B54911E9-D956-1740-8384-D6F369D1EC17}" srcOrd="0" destOrd="1" presId="urn:microsoft.com/office/officeart/2005/8/layout/bList2"/>
    <dgm:cxn modelId="{04926863-866E-4445-92D2-D51370F42EA2}" type="presOf" srcId="{DEEC326D-4825-5F4F-8DC4-E6DBA13A2B3E}" destId="{B54911E9-D956-1740-8384-D6F369D1EC17}" srcOrd="0" destOrd="3" presId="urn:microsoft.com/office/officeart/2005/8/layout/bList2"/>
    <dgm:cxn modelId="{34357D64-2703-6F42-A87F-105381A888E0}" srcId="{43880282-761A-8548-8559-37C4847CA326}" destId="{1A899132-CCD4-C54A-A259-3962DE9C97F7}" srcOrd="1" destOrd="0" parTransId="{F5A321C4-2448-DD40-8393-99C81E0E189F}" sibTransId="{7609AF1F-7D68-0245-9CDB-DC85F18AE91F}"/>
    <dgm:cxn modelId="{7040BC6A-0767-4443-8137-8ADA8DB7C0C5}" type="presOf" srcId="{D61FA9C7-FEE3-9447-AAB8-F658997C2E36}" destId="{B71AB22C-9603-CB43-96C7-5CE7E14AF2BD}" srcOrd="0" destOrd="0" presId="urn:microsoft.com/office/officeart/2005/8/layout/bList2"/>
    <dgm:cxn modelId="{60CFE16A-119A-834C-BD76-088CEA8E8E78}" type="presOf" srcId="{4249E7E7-3596-9842-844C-E083CB5E750E}" destId="{52912559-19FC-8449-98D2-922832410BAF}" srcOrd="0" destOrd="0" presId="urn:microsoft.com/office/officeart/2005/8/layout/bList2"/>
    <dgm:cxn modelId="{DD29F86C-27E9-C349-9A3C-835C45D462A5}" srcId="{6F09DF38-4BE2-014D-A2D5-DFA14AC0B95D}" destId="{BFF0D873-4532-6943-B71C-E3C5D4D818F3}" srcOrd="0" destOrd="0" parTransId="{5739B83E-B454-3342-9BD0-56FEF79A5D01}" sibTransId="{534B7378-4D3D-2A4A-9FB4-19D523AD9741}"/>
    <dgm:cxn modelId="{E565A27A-2A23-934A-9F4E-16B7F66DD030}" srcId="{ACE67B27-83D9-6A40-B257-1FC5C8DBE8E4}" destId="{4249E7E7-3596-9842-844C-E083CB5E750E}" srcOrd="0" destOrd="0" parTransId="{1109197A-334F-B249-B127-7753745B372F}" sibTransId="{FB8AFDC3-1F93-634F-9F64-8897DB94C29C}"/>
    <dgm:cxn modelId="{6FA5F07A-2AEF-A745-B89E-05823AFC1F54}" srcId="{F00925BE-C16B-DB41-9098-F4204EDB1D90}" destId="{ACE67B27-83D9-6A40-B257-1FC5C8DBE8E4}" srcOrd="1" destOrd="0" parTransId="{4B495967-4D95-0846-8D30-DF69F7450AD5}" sibTransId="{FA9E5FBB-0E92-534C-83FC-E5C567457B4E}"/>
    <dgm:cxn modelId="{B2D36E7B-815F-9E4F-B52F-11AC57BB1398}" type="presOf" srcId="{F00925BE-C16B-DB41-9098-F4204EDB1D90}" destId="{6F5C5068-665B-AC4D-B587-ED08661D4E49}" srcOrd="0" destOrd="0" presId="urn:microsoft.com/office/officeart/2005/8/layout/bList2"/>
    <dgm:cxn modelId="{DD829482-5DE7-434A-837B-0C2D26B90528}" srcId="{A946C6A9-E8D4-EF4A-B6AA-8BCF90D79EBF}" destId="{08EA9836-2153-654B-854F-AE7473E6FD88}" srcOrd="0" destOrd="0" parTransId="{CCE9C35D-8410-8445-AA0B-9699BEB43988}" sibTransId="{1EACD258-488C-DB49-9BC8-1A202CFE4850}"/>
    <dgm:cxn modelId="{1642F785-9CB8-4642-859B-6EA4E12AF0FA}" srcId="{ACE67B27-83D9-6A40-B257-1FC5C8DBE8E4}" destId="{17EE334B-A52A-9041-ADF0-D3B0ECEB762B}" srcOrd="2" destOrd="0" parTransId="{DE593F43-835A-D648-AEC0-C8F07E2A8E09}" sibTransId="{66467641-6865-874A-AC94-D9EA9E38595B}"/>
    <dgm:cxn modelId="{A59F4E87-04D8-B74D-9C84-AA49E57818CD}" type="presOf" srcId="{A946C6A9-E8D4-EF4A-B6AA-8BCF90D79EBF}" destId="{F360EAB9-37F9-B743-AC56-9D447D349556}" srcOrd="0" destOrd="0" presId="urn:microsoft.com/office/officeart/2005/8/layout/bList2"/>
    <dgm:cxn modelId="{563CBD90-8773-EB4C-BB07-9742D09E7909}" srcId="{43880282-761A-8548-8559-37C4847CA326}" destId="{C767A100-657D-F54C-B58D-FC2ACA437109}" srcOrd="0" destOrd="0" parTransId="{68D78E50-C018-9E4F-8A10-73E64175CA8F}" sibTransId="{C6C936B1-EB4C-D44A-97BD-505787ED2BC6}"/>
    <dgm:cxn modelId="{8D644191-B7CE-2C40-A8E5-0EC40AA5849D}" srcId="{A946C6A9-E8D4-EF4A-B6AA-8BCF90D79EBF}" destId="{57D21565-35AF-3D4D-BDAF-AC9F762A4272}" srcOrd="1" destOrd="0" parTransId="{EF1B68F3-C78C-2D4B-B793-45361E5A5880}" sibTransId="{AD5BBE98-C0B0-B245-835D-06AB93DB1D02}"/>
    <dgm:cxn modelId="{799E8899-125E-AA48-80A8-ABA726544B92}" type="presOf" srcId="{17EE334B-A52A-9041-ADF0-D3B0ECEB762B}" destId="{52912559-19FC-8449-98D2-922832410BAF}" srcOrd="0" destOrd="2" presId="urn:microsoft.com/office/officeart/2005/8/layout/bList2"/>
    <dgm:cxn modelId="{FFA3ABA8-34CE-1645-92CC-4D9E17FB21A0}" type="presOf" srcId="{ACE67B27-83D9-6A40-B257-1FC5C8DBE8E4}" destId="{45F7DD78-FDE2-E343-B80F-46CC03FDE5A8}" srcOrd="0" destOrd="0" presId="urn:microsoft.com/office/officeart/2005/8/layout/bList2"/>
    <dgm:cxn modelId="{B053F9AE-85E1-BF4F-95D6-5BA0B086EAE9}" srcId="{6F09DF38-4BE2-014D-A2D5-DFA14AC0B95D}" destId="{1DE2CA06-C822-F84E-8114-C57F99AC3203}" srcOrd="1" destOrd="0" parTransId="{939DD7C2-44F5-7A49-B5A2-032F523FDE86}" sibTransId="{316C53DD-A796-3843-8B65-CBD56D5EA40E}"/>
    <dgm:cxn modelId="{806584BA-13B7-4F48-8537-4D789BB2DE09}" srcId="{A946C6A9-E8D4-EF4A-B6AA-8BCF90D79EBF}" destId="{FA04DD0D-292C-2546-AD38-0A7DBAE29EF8}" srcOrd="3" destOrd="0" parTransId="{AB1CD772-9014-3D46-B752-DD5B781BB81E}" sibTransId="{7A2E9929-661E-BF42-81CB-5D7C6AE45228}"/>
    <dgm:cxn modelId="{E75AAACB-4686-6F4E-BD2A-0C80CEE61A4F}" type="presOf" srcId="{57D21565-35AF-3D4D-BDAF-AC9F762A4272}" destId="{E1512F41-4692-9F46-A305-1E15BAD14BA8}" srcOrd="0" destOrd="1" presId="urn:microsoft.com/office/officeart/2005/8/layout/bList2"/>
    <dgm:cxn modelId="{EC587BD7-DB38-B24F-AABB-4AE0C24DB9A9}" type="presOf" srcId="{08EA9836-2153-654B-854F-AE7473E6FD88}" destId="{E1512F41-4692-9F46-A305-1E15BAD14BA8}" srcOrd="0" destOrd="0" presId="urn:microsoft.com/office/officeart/2005/8/layout/bList2"/>
    <dgm:cxn modelId="{0B3C39E5-C0F9-2244-BA7F-36B886F82ACA}" type="presOf" srcId="{C767A100-657D-F54C-B58D-FC2ACA437109}" destId="{B54911E9-D956-1740-8384-D6F369D1EC17}" srcOrd="0" destOrd="0" presId="urn:microsoft.com/office/officeart/2005/8/layout/bList2"/>
    <dgm:cxn modelId="{7F64D8E6-31E7-B14C-8FBF-2D20C2A6692F}" type="presOf" srcId="{7882588E-DD14-FF43-B452-3FF29DCB2257}" destId="{E6D5B776-DD11-AA41-99E0-C894031180D7}" srcOrd="0" destOrd="3" presId="urn:microsoft.com/office/officeart/2005/8/layout/bList2"/>
    <dgm:cxn modelId="{62A0DAE7-2AD6-624D-B282-5261D8C4E1AA}" type="presOf" srcId="{6F09DF38-4BE2-014D-A2D5-DFA14AC0B95D}" destId="{A1D96DB0-B1E9-4E47-A529-972C00383300}" srcOrd="1" destOrd="0" presId="urn:microsoft.com/office/officeart/2005/8/layout/bList2"/>
    <dgm:cxn modelId="{580090FA-F5A5-4545-AC42-F42FB92C9638}" type="presOf" srcId="{FA9E5FBB-0E92-534C-83FC-E5C567457B4E}" destId="{1CF4D9D5-7E3D-AC49-990F-38E1C7701FE5}" srcOrd="0" destOrd="0" presId="urn:microsoft.com/office/officeart/2005/8/layout/bList2"/>
    <dgm:cxn modelId="{BFCE19FC-1010-F749-96C4-E092461D3086}" type="presOf" srcId="{BFF0D873-4532-6943-B71C-E3C5D4D818F3}" destId="{E6D5B776-DD11-AA41-99E0-C894031180D7}" srcOrd="0" destOrd="0" presId="urn:microsoft.com/office/officeart/2005/8/layout/bList2"/>
    <dgm:cxn modelId="{95EB47FC-B755-534E-8735-E2F182A05EDA}" type="presOf" srcId="{DCA85F71-B36E-844B-98C4-48655F4E265B}" destId="{E6D5B776-DD11-AA41-99E0-C894031180D7}" srcOrd="0" destOrd="2" presId="urn:microsoft.com/office/officeart/2005/8/layout/bList2"/>
    <dgm:cxn modelId="{189D60BF-D06A-FE4E-BEB3-ED24CFB61FA8}" type="presParOf" srcId="{6F5C5068-665B-AC4D-B587-ED08661D4E49}" destId="{8A5E40D2-E0E2-EE44-966D-CE8D099A2AD1}" srcOrd="0" destOrd="0" presId="urn:microsoft.com/office/officeart/2005/8/layout/bList2"/>
    <dgm:cxn modelId="{89C9DC19-43AB-CB44-9CBA-3A992D697963}" type="presParOf" srcId="{8A5E40D2-E0E2-EE44-966D-CE8D099A2AD1}" destId="{E1512F41-4692-9F46-A305-1E15BAD14BA8}" srcOrd="0" destOrd="0" presId="urn:microsoft.com/office/officeart/2005/8/layout/bList2"/>
    <dgm:cxn modelId="{644BEB68-1201-B247-BA38-9F72C90DCAC0}" type="presParOf" srcId="{8A5E40D2-E0E2-EE44-966D-CE8D099A2AD1}" destId="{F360EAB9-37F9-B743-AC56-9D447D349556}" srcOrd="1" destOrd="0" presId="urn:microsoft.com/office/officeart/2005/8/layout/bList2"/>
    <dgm:cxn modelId="{F0FC5810-D73A-644E-9B0E-4A4FA91001B0}" type="presParOf" srcId="{8A5E40D2-E0E2-EE44-966D-CE8D099A2AD1}" destId="{43443604-5C8F-6B48-B29E-2E121DC84D02}" srcOrd="2" destOrd="0" presId="urn:microsoft.com/office/officeart/2005/8/layout/bList2"/>
    <dgm:cxn modelId="{9B3AC452-D7D2-1F45-BC33-08AFBDCA89DC}" type="presParOf" srcId="{8A5E40D2-E0E2-EE44-966D-CE8D099A2AD1}" destId="{22FAC088-1754-154B-9E61-CE82340E4780}" srcOrd="3" destOrd="0" presId="urn:microsoft.com/office/officeart/2005/8/layout/bList2"/>
    <dgm:cxn modelId="{E29B52C9-98F0-AA49-A0B2-5C5EE87D36F1}" type="presParOf" srcId="{6F5C5068-665B-AC4D-B587-ED08661D4E49}" destId="{9C14B34B-9450-9C48-A858-03EFCB2FF8AB}" srcOrd="1" destOrd="0" presId="urn:microsoft.com/office/officeart/2005/8/layout/bList2"/>
    <dgm:cxn modelId="{48386413-C532-B54E-8F78-828AE3722CE3}" type="presParOf" srcId="{6F5C5068-665B-AC4D-B587-ED08661D4E49}" destId="{80132C6A-F006-FC4F-BE8A-EB4C8C0614EC}" srcOrd="2" destOrd="0" presId="urn:microsoft.com/office/officeart/2005/8/layout/bList2"/>
    <dgm:cxn modelId="{DC90B06E-A00B-2E4D-9F79-67D017373A9B}" type="presParOf" srcId="{80132C6A-F006-FC4F-BE8A-EB4C8C0614EC}" destId="{52912559-19FC-8449-98D2-922832410BAF}" srcOrd="0" destOrd="0" presId="urn:microsoft.com/office/officeart/2005/8/layout/bList2"/>
    <dgm:cxn modelId="{59158894-3D5C-E24A-942F-96462B6850A4}" type="presParOf" srcId="{80132C6A-F006-FC4F-BE8A-EB4C8C0614EC}" destId="{45F7DD78-FDE2-E343-B80F-46CC03FDE5A8}" srcOrd="1" destOrd="0" presId="urn:microsoft.com/office/officeart/2005/8/layout/bList2"/>
    <dgm:cxn modelId="{0236634C-888D-B844-8C76-7187A1239DFE}" type="presParOf" srcId="{80132C6A-F006-FC4F-BE8A-EB4C8C0614EC}" destId="{1A4CD6C4-09C1-4249-BAD9-BDA13013B36D}" srcOrd="2" destOrd="0" presId="urn:microsoft.com/office/officeart/2005/8/layout/bList2"/>
    <dgm:cxn modelId="{A2168C01-E11D-9448-8F79-DB672EEAA746}" type="presParOf" srcId="{80132C6A-F006-FC4F-BE8A-EB4C8C0614EC}" destId="{E60E7041-B1BB-7D4A-99A9-7F58E7C646E0}" srcOrd="3" destOrd="0" presId="urn:microsoft.com/office/officeart/2005/8/layout/bList2"/>
    <dgm:cxn modelId="{645878E0-626C-B641-ADBE-DEBFA204EAA1}" type="presParOf" srcId="{6F5C5068-665B-AC4D-B587-ED08661D4E49}" destId="{1CF4D9D5-7E3D-AC49-990F-38E1C7701FE5}" srcOrd="3" destOrd="0" presId="urn:microsoft.com/office/officeart/2005/8/layout/bList2"/>
    <dgm:cxn modelId="{DF0F895A-FBBB-9640-BE37-9BFCF7FADF3F}" type="presParOf" srcId="{6F5C5068-665B-AC4D-B587-ED08661D4E49}" destId="{135F2FD2-DC2F-CC40-8A96-10B6AAD0DD00}" srcOrd="4" destOrd="0" presId="urn:microsoft.com/office/officeart/2005/8/layout/bList2"/>
    <dgm:cxn modelId="{1282B364-BF4A-B642-B774-0CEC7711F03B}" type="presParOf" srcId="{135F2FD2-DC2F-CC40-8A96-10B6AAD0DD00}" destId="{B54911E9-D956-1740-8384-D6F369D1EC17}" srcOrd="0" destOrd="0" presId="urn:microsoft.com/office/officeart/2005/8/layout/bList2"/>
    <dgm:cxn modelId="{B423B673-0F60-3242-B1A7-2FDED00B4ABA}" type="presParOf" srcId="{135F2FD2-DC2F-CC40-8A96-10B6AAD0DD00}" destId="{A404095F-6803-8242-B548-161D168066C4}" srcOrd="1" destOrd="0" presId="urn:microsoft.com/office/officeart/2005/8/layout/bList2"/>
    <dgm:cxn modelId="{E1F2FD81-7B77-E84F-BD38-798DFD9BC080}" type="presParOf" srcId="{135F2FD2-DC2F-CC40-8A96-10B6AAD0DD00}" destId="{A7C31812-A1C1-BC4C-A0FB-E30ABB310D2E}" srcOrd="2" destOrd="0" presId="urn:microsoft.com/office/officeart/2005/8/layout/bList2"/>
    <dgm:cxn modelId="{759949C6-8A14-4141-9003-BFCC823BC572}" type="presParOf" srcId="{135F2FD2-DC2F-CC40-8A96-10B6AAD0DD00}" destId="{554DAF9F-8686-0D4F-B0BB-9AAB4D7DD81D}" srcOrd="3" destOrd="0" presId="urn:microsoft.com/office/officeart/2005/8/layout/bList2"/>
    <dgm:cxn modelId="{19876582-F86A-3343-98D4-9F5E11209A1C}" type="presParOf" srcId="{6F5C5068-665B-AC4D-B587-ED08661D4E49}" destId="{B71AB22C-9603-CB43-96C7-5CE7E14AF2BD}" srcOrd="5" destOrd="0" presId="urn:microsoft.com/office/officeart/2005/8/layout/bList2"/>
    <dgm:cxn modelId="{014535BA-B889-8844-B1C0-D8891E2D404E}" type="presParOf" srcId="{6F5C5068-665B-AC4D-B587-ED08661D4E49}" destId="{F7532B4B-8018-A942-B11B-3E1E8377953D}" srcOrd="6" destOrd="0" presId="urn:microsoft.com/office/officeart/2005/8/layout/bList2"/>
    <dgm:cxn modelId="{64934EBF-815A-C142-86B0-63E8BF4A6501}" type="presParOf" srcId="{F7532B4B-8018-A942-B11B-3E1E8377953D}" destId="{E6D5B776-DD11-AA41-99E0-C894031180D7}" srcOrd="0" destOrd="0" presId="urn:microsoft.com/office/officeart/2005/8/layout/bList2"/>
    <dgm:cxn modelId="{3624CDD0-1546-3B42-8C0F-3474B494CC59}" type="presParOf" srcId="{F7532B4B-8018-A942-B11B-3E1E8377953D}" destId="{E8446180-6158-FF46-A0C3-C3BE89682CCB}" srcOrd="1" destOrd="0" presId="urn:microsoft.com/office/officeart/2005/8/layout/bList2"/>
    <dgm:cxn modelId="{6204681A-21CE-1F45-A6F1-036A34F96D8B}" type="presParOf" srcId="{F7532B4B-8018-A942-B11B-3E1E8377953D}" destId="{A1D96DB0-B1E9-4E47-A529-972C00383300}" srcOrd="2" destOrd="0" presId="urn:microsoft.com/office/officeart/2005/8/layout/bList2"/>
    <dgm:cxn modelId="{E3FC3D78-A669-6D42-81E8-A929124F308E}" type="presParOf" srcId="{F7532B4B-8018-A942-B11B-3E1E8377953D}" destId="{9512B302-D3E6-5045-B7BC-6802F7D25C9C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B1DF777-5E2D-CF46-91C4-3CAB8EA12DCA}" type="doc">
      <dgm:prSet loTypeId="urn:microsoft.com/office/officeart/2005/8/layout/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FF674FBB-F805-7A41-B455-7B4D1DA831A5}">
      <dgm:prSet/>
      <dgm:spPr/>
      <dgm:t>
        <a:bodyPr/>
        <a:lstStyle/>
        <a:p>
          <a:r>
            <a:rPr lang="en-GB" dirty="0" err="1"/>
            <a:t>SecurityContextPersistenceFilter</a:t>
          </a:r>
          <a:endParaRPr lang="en-IN" dirty="0"/>
        </a:p>
      </dgm:t>
    </dgm:pt>
    <dgm:pt modelId="{21635C77-BDCA-E24B-AD52-B8C9B462E561}" type="parTrans" cxnId="{D20478A2-D2F8-E044-A07A-0115B65792DA}">
      <dgm:prSet/>
      <dgm:spPr/>
      <dgm:t>
        <a:bodyPr/>
        <a:lstStyle/>
        <a:p>
          <a:endParaRPr lang="en-GB"/>
        </a:p>
      </dgm:t>
    </dgm:pt>
    <dgm:pt modelId="{F70E2761-BC89-514E-902B-A9781A5C5EB0}" type="sibTrans" cxnId="{D20478A2-D2F8-E044-A07A-0115B65792DA}">
      <dgm:prSet/>
      <dgm:spPr/>
      <dgm:t>
        <a:bodyPr/>
        <a:lstStyle/>
        <a:p>
          <a:endParaRPr lang="en-GB"/>
        </a:p>
      </dgm:t>
    </dgm:pt>
    <dgm:pt modelId="{090AC0C7-09F4-3A41-B3C1-16B1767EA80C}">
      <dgm:prSet/>
      <dgm:spPr/>
      <dgm:t>
        <a:bodyPr/>
        <a:lstStyle/>
        <a:p>
          <a:r>
            <a:rPr lang="en-GB" dirty="0" err="1"/>
            <a:t>AuthenticationFilters</a:t>
          </a:r>
          <a:r>
            <a:rPr lang="en-GB" dirty="0"/>
            <a:t> (Basic, Form, etc)</a:t>
          </a:r>
          <a:endParaRPr lang="en-IN" dirty="0"/>
        </a:p>
      </dgm:t>
    </dgm:pt>
    <dgm:pt modelId="{6AB65DF4-333E-4446-87FC-5CEFF7718C01}" type="parTrans" cxnId="{D7C792E4-6F46-394C-8CD2-58EAEA5E7D61}">
      <dgm:prSet/>
      <dgm:spPr/>
      <dgm:t>
        <a:bodyPr/>
        <a:lstStyle/>
        <a:p>
          <a:endParaRPr lang="en-GB"/>
        </a:p>
      </dgm:t>
    </dgm:pt>
    <dgm:pt modelId="{0A619B54-1EFE-A443-ADF2-DFDD377D5D08}" type="sibTrans" cxnId="{D7C792E4-6F46-394C-8CD2-58EAEA5E7D61}">
      <dgm:prSet/>
      <dgm:spPr/>
      <dgm:t>
        <a:bodyPr/>
        <a:lstStyle/>
        <a:p>
          <a:endParaRPr lang="en-GB"/>
        </a:p>
      </dgm:t>
    </dgm:pt>
    <dgm:pt modelId="{80F24EC3-5D6B-B042-A422-F05EEA5359B5}">
      <dgm:prSet/>
      <dgm:spPr/>
      <dgm:t>
        <a:bodyPr/>
        <a:lstStyle/>
        <a:p>
          <a:r>
            <a:rPr lang="en-GB"/>
            <a:t>AnonymousAuthenticationFilter</a:t>
          </a:r>
          <a:endParaRPr lang="en-IN"/>
        </a:p>
      </dgm:t>
    </dgm:pt>
    <dgm:pt modelId="{8EFD57EE-0350-7748-BEFC-0A8E220F32EB}" type="parTrans" cxnId="{7E030DF8-A3B4-A347-B621-BC561A9D3E59}">
      <dgm:prSet/>
      <dgm:spPr/>
      <dgm:t>
        <a:bodyPr/>
        <a:lstStyle/>
        <a:p>
          <a:endParaRPr lang="en-GB"/>
        </a:p>
      </dgm:t>
    </dgm:pt>
    <dgm:pt modelId="{CF4FE2E9-0828-8B49-A9CF-A736BE73C971}" type="sibTrans" cxnId="{7E030DF8-A3B4-A347-B621-BC561A9D3E59}">
      <dgm:prSet/>
      <dgm:spPr/>
      <dgm:t>
        <a:bodyPr/>
        <a:lstStyle/>
        <a:p>
          <a:endParaRPr lang="en-GB"/>
        </a:p>
      </dgm:t>
    </dgm:pt>
    <dgm:pt modelId="{C90A0A5E-4623-4141-8233-D195AB7F2908}">
      <dgm:prSet/>
      <dgm:spPr/>
      <dgm:t>
        <a:bodyPr/>
        <a:lstStyle/>
        <a:p>
          <a:r>
            <a:rPr lang="en-GB"/>
            <a:t>ExceptionTranslationFilter</a:t>
          </a:r>
          <a:endParaRPr lang="en-IN"/>
        </a:p>
      </dgm:t>
    </dgm:pt>
    <dgm:pt modelId="{E0CFE4FA-B889-BD4C-8B70-541DAD9D0B79}" type="parTrans" cxnId="{A77B0B59-55B2-8640-9B5D-3ABE25522C86}">
      <dgm:prSet/>
      <dgm:spPr/>
      <dgm:t>
        <a:bodyPr/>
        <a:lstStyle/>
        <a:p>
          <a:endParaRPr lang="en-GB"/>
        </a:p>
      </dgm:t>
    </dgm:pt>
    <dgm:pt modelId="{48C7A78E-7A8C-7844-9D7D-365BCC97CFED}" type="sibTrans" cxnId="{A77B0B59-55B2-8640-9B5D-3ABE25522C86}">
      <dgm:prSet/>
      <dgm:spPr/>
      <dgm:t>
        <a:bodyPr/>
        <a:lstStyle/>
        <a:p>
          <a:endParaRPr lang="en-GB"/>
        </a:p>
      </dgm:t>
    </dgm:pt>
    <dgm:pt modelId="{327D7AD2-4284-8249-88F9-10F6FFC70DEF}">
      <dgm:prSet/>
      <dgm:spPr/>
      <dgm:t>
        <a:bodyPr/>
        <a:lstStyle/>
        <a:p>
          <a:r>
            <a:rPr lang="en-GB"/>
            <a:t>FilterSecurityInterceptor</a:t>
          </a:r>
          <a:endParaRPr lang="en-IN"/>
        </a:p>
      </dgm:t>
    </dgm:pt>
    <dgm:pt modelId="{1AF9EA9A-209E-7241-978F-6B3D15FCF7AD}" type="parTrans" cxnId="{ECE4F3F7-7A54-D24C-902E-CC7BB1C0F809}">
      <dgm:prSet/>
      <dgm:spPr/>
      <dgm:t>
        <a:bodyPr/>
        <a:lstStyle/>
        <a:p>
          <a:endParaRPr lang="en-GB"/>
        </a:p>
      </dgm:t>
    </dgm:pt>
    <dgm:pt modelId="{34348454-E2A8-0740-BB7C-04753D6300E7}" type="sibTrans" cxnId="{ECE4F3F7-7A54-D24C-902E-CC7BB1C0F809}">
      <dgm:prSet/>
      <dgm:spPr/>
      <dgm:t>
        <a:bodyPr/>
        <a:lstStyle/>
        <a:p>
          <a:endParaRPr lang="en-GB"/>
        </a:p>
      </dgm:t>
    </dgm:pt>
    <dgm:pt modelId="{3160084F-13E8-5E44-8B11-802EE4F7B455}" type="pres">
      <dgm:prSet presAssocID="{DB1DF777-5E2D-CF46-91C4-3CAB8EA12DCA}" presName="Name0" presStyleCnt="0">
        <dgm:presLayoutVars>
          <dgm:dir/>
          <dgm:animLvl val="lvl"/>
          <dgm:resizeHandles val="exact"/>
        </dgm:presLayoutVars>
      </dgm:prSet>
      <dgm:spPr/>
    </dgm:pt>
    <dgm:pt modelId="{61918845-F588-DA4A-91C9-955497C7B1EB}" type="pres">
      <dgm:prSet presAssocID="{327D7AD2-4284-8249-88F9-10F6FFC70DEF}" presName="boxAndChildren" presStyleCnt="0"/>
      <dgm:spPr/>
    </dgm:pt>
    <dgm:pt modelId="{EB55B406-E2A1-EE4C-83E9-30DC686A4904}" type="pres">
      <dgm:prSet presAssocID="{327D7AD2-4284-8249-88F9-10F6FFC70DEF}" presName="parentTextBox" presStyleLbl="node1" presStyleIdx="0" presStyleCnt="5"/>
      <dgm:spPr/>
    </dgm:pt>
    <dgm:pt modelId="{54D48030-7834-7849-B875-148CDC109F30}" type="pres">
      <dgm:prSet presAssocID="{48C7A78E-7A8C-7844-9D7D-365BCC97CFED}" presName="sp" presStyleCnt="0"/>
      <dgm:spPr/>
    </dgm:pt>
    <dgm:pt modelId="{31EB2B16-AE57-7E43-8E54-7D1C35892F8E}" type="pres">
      <dgm:prSet presAssocID="{C90A0A5E-4623-4141-8233-D195AB7F2908}" presName="arrowAndChildren" presStyleCnt="0"/>
      <dgm:spPr/>
    </dgm:pt>
    <dgm:pt modelId="{A6D3B5F4-5728-A646-B391-71321DF70F9F}" type="pres">
      <dgm:prSet presAssocID="{C90A0A5E-4623-4141-8233-D195AB7F2908}" presName="parentTextArrow" presStyleLbl="node1" presStyleIdx="1" presStyleCnt="5"/>
      <dgm:spPr/>
    </dgm:pt>
    <dgm:pt modelId="{6875E9BC-2502-4B46-9CD6-8861BFE05203}" type="pres">
      <dgm:prSet presAssocID="{CF4FE2E9-0828-8B49-A9CF-A736BE73C971}" presName="sp" presStyleCnt="0"/>
      <dgm:spPr/>
    </dgm:pt>
    <dgm:pt modelId="{C97BAFF3-547C-F14C-9B97-A05EB3FFEBC9}" type="pres">
      <dgm:prSet presAssocID="{80F24EC3-5D6B-B042-A422-F05EEA5359B5}" presName="arrowAndChildren" presStyleCnt="0"/>
      <dgm:spPr/>
    </dgm:pt>
    <dgm:pt modelId="{A520648E-B82F-754A-BB8F-EC0009C988E5}" type="pres">
      <dgm:prSet presAssocID="{80F24EC3-5D6B-B042-A422-F05EEA5359B5}" presName="parentTextArrow" presStyleLbl="node1" presStyleIdx="2" presStyleCnt="5"/>
      <dgm:spPr/>
    </dgm:pt>
    <dgm:pt modelId="{BBFC6460-6CF7-B846-B645-F851C0E50551}" type="pres">
      <dgm:prSet presAssocID="{0A619B54-1EFE-A443-ADF2-DFDD377D5D08}" presName="sp" presStyleCnt="0"/>
      <dgm:spPr/>
    </dgm:pt>
    <dgm:pt modelId="{FDD0D23C-7824-4247-AF41-74C8260A52E6}" type="pres">
      <dgm:prSet presAssocID="{090AC0C7-09F4-3A41-B3C1-16B1767EA80C}" presName="arrowAndChildren" presStyleCnt="0"/>
      <dgm:spPr/>
    </dgm:pt>
    <dgm:pt modelId="{EF291D84-C98C-524C-A97E-9DB91C70770A}" type="pres">
      <dgm:prSet presAssocID="{090AC0C7-09F4-3A41-B3C1-16B1767EA80C}" presName="parentTextArrow" presStyleLbl="node1" presStyleIdx="3" presStyleCnt="5"/>
      <dgm:spPr/>
    </dgm:pt>
    <dgm:pt modelId="{A6B0080F-B0A7-3444-B423-53B1DE406DFE}" type="pres">
      <dgm:prSet presAssocID="{F70E2761-BC89-514E-902B-A9781A5C5EB0}" presName="sp" presStyleCnt="0"/>
      <dgm:spPr/>
    </dgm:pt>
    <dgm:pt modelId="{8870080B-80DB-B045-9E39-5E66F08D5CBD}" type="pres">
      <dgm:prSet presAssocID="{FF674FBB-F805-7A41-B455-7B4D1DA831A5}" presName="arrowAndChildren" presStyleCnt="0"/>
      <dgm:spPr/>
    </dgm:pt>
    <dgm:pt modelId="{358C4510-826A-DE43-B60F-B81FA47381BC}" type="pres">
      <dgm:prSet presAssocID="{FF674FBB-F805-7A41-B455-7B4D1DA831A5}" presName="parentTextArrow" presStyleLbl="node1" presStyleIdx="4" presStyleCnt="5"/>
      <dgm:spPr/>
    </dgm:pt>
  </dgm:ptLst>
  <dgm:cxnLst>
    <dgm:cxn modelId="{A839CC0B-0CD9-C243-8D86-F1D233155D0E}" type="presOf" srcId="{C90A0A5E-4623-4141-8233-D195AB7F2908}" destId="{A6D3B5F4-5728-A646-B391-71321DF70F9F}" srcOrd="0" destOrd="0" presId="urn:microsoft.com/office/officeart/2005/8/layout/process4"/>
    <dgm:cxn modelId="{ED2FB313-0043-5A41-A370-5B042C9BAAEB}" type="presOf" srcId="{DB1DF777-5E2D-CF46-91C4-3CAB8EA12DCA}" destId="{3160084F-13E8-5E44-8B11-802EE4F7B455}" srcOrd="0" destOrd="0" presId="urn:microsoft.com/office/officeart/2005/8/layout/process4"/>
    <dgm:cxn modelId="{C37DB246-23BB-404C-A3F5-96B21198936A}" type="presOf" srcId="{80F24EC3-5D6B-B042-A422-F05EEA5359B5}" destId="{A520648E-B82F-754A-BB8F-EC0009C988E5}" srcOrd="0" destOrd="0" presId="urn:microsoft.com/office/officeart/2005/8/layout/process4"/>
    <dgm:cxn modelId="{A77B0B59-55B2-8640-9B5D-3ABE25522C86}" srcId="{DB1DF777-5E2D-CF46-91C4-3CAB8EA12DCA}" destId="{C90A0A5E-4623-4141-8233-D195AB7F2908}" srcOrd="3" destOrd="0" parTransId="{E0CFE4FA-B889-BD4C-8B70-541DAD9D0B79}" sibTransId="{48C7A78E-7A8C-7844-9D7D-365BCC97CFED}"/>
    <dgm:cxn modelId="{D20478A2-D2F8-E044-A07A-0115B65792DA}" srcId="{DB1DF777-5E2D-CF46-91C4-3CAB8EA12DCA}" destId="{FF674FBB-F805-7A41-B455-7B4D1DA831A5}" srcOrd="0" destOrd="0" parTransId="{21635C77-BDCA-E24B-AD52-B8C9B462E561}" sibTransId="{F70E2761-BC89-514E-902B-A9781A5C5EB0}"/>
    <dgm:cxn modelId="{8322FFA7-662A-7740-85FD-64D42A322B18}" type="presOf" srcId="{327D7AD2-4284-8249-88F9-10F6FFC70DEF}" destId="{EB55B406-E2A1-EE4C-83E9-30DC686A4904}" srcOrd="0" destOrd="0" presId="urn:microsoft.com/office/officeart/2005/8/layout/process4"/>
    <dgm:cxn modelId="{AFA88FE3-8331-2549-9FC0-5B431377AB74}" type="presOf" srcId="{FF674FBB-F805-7A41-B455-7B4D1DA831A5}" destId="{358C4510-826A-DE43-B60F-B81FA47381BC}" srcOrd="0" destOrd="0" presId="urn:microsoft.com/office/officeart/2005/8/layout/process4"/>
    <dgm:cxn modelId="{A830EEE3-0EB6-5245-B005-FD5E794BF5D8}" type="presOf" srcId="{090AC0C7-09F4-3A41-B3C1-16B1767EA80C}" destId="{EF291D84-C98C-524C-A97E-9DB91C70770A}" srcOrd="0" destOrd="0" presId="urn:microsoft.com/office/officeart/2005/8/layout/process4"/>
    <dgm:cxn modelId="{D7C792E4-6F46-394C-8CD2-58EAEA5E7D61}" srcId="{DB1DF777-5E2D-CF46-91C4-3CAB8EA12DCA}" destId="{090AC0C7-09F4-3A41-B3C1-16B1767EA80C}" srcOrd="1" destOrd="0" parTransId="{6AB65DF4-333E-4446-87FC-5CEFF7718C01}" sibTransId="{0A619B54-1EFE-A443-ADF2-DFDD377D5D08}"/>
    <dgm:cxn modelId="{ECE4F3F7-7A54-D24C-902E-CC7BB1C0F809}" srcId="{DB1DF777-5E2D-CF46-91C4-3CAB8EA12DCA}" destId="{327D7AD2-4284-8249-88F9-10F6FFC70DEF}" srcOrd="4" destOrd="0" parTransId="{1AF9EA9A-209E-7241-978F-6B3D15FCF7AD}" sibTransId="{34348454-E2A8-0740-BB7C-04753D6300E7}"/>
    <dgm:cxn modelId="{7E030DF8-A3B4-A347-B621-BC561A9D3E59}" srcId="{DB1DF777-5E2D-CF46-91C4-3CAB8EA12DCA}" destId="{80F24EC3-5D6B-B042-A422-F05EEA5359B5}" srcOrd="2" destOrd="0" parTransId="{8EFD57EE-0350-7748-BEFC-0A8E220F32EB}" sibTransId="{CF4FE2E9-0828-8B49-A9CF-A736BE73C971}"/>
    <dgm:cxn modelId="{1DB93884-A6EF-1F43-98FA-243DFF9DCEC9}" type="presParOf" srcId="{3160084F-13E8-5E44-8B11-802EE4F7B455}" destId="{61918845-F588-DA4A-91C9-955497C7B1EB}" srcOrd="0" destOrd="0" presId="urn:microsoft.com/office/officeart/2005/8/layout/process4"/>
    <dgm:cxn modelId="{2B2EB049-B38E-0043-B59D-F8520ACE6DD7}" type="presParOf" srcId="{61918845-F588-DA4A-91C9-955497C7B1EB}" destId="{EB55B406-E2A1-EE4C-83E9-30DC686A4904}" srcOrd="0" destOrd="0" presId="urn:microsoft.com/office/officeart/2005/8/layout/process4"/>
    <dgm:cxn modelId="{2AD92E01-EB92-5847-B78B-EDB8740EC868}" type="presParOf" srcId="{3160084F-13E8-5E44-8B11-802EE4F7B455}" destId="{54D48030-7834-7849-B875-148CDC109F30}" srcOrd="1" destOrd="0" presId="urn:microsoft.com/office/officeart/2005/8/layout/process4"/>
    <dgm:cxn modelId="{C6B3F595-2979-0B4D-861E-2D3D95D81FDE}" type="presParOf" srcId="{3160084F-13E8-5E44-8B11-802EE4F7B455}" destId="{31EB2B16-AE57-7E43-8E54-7D1C35892F8E}" srcOrd="2" destOrd="0" presId="urn:microsoft.com/office/officeart/2005/8/layout/process4"/>
    <dgm:cxn modelId="{3336A803-2D8F-7C42-9C9B-E9E02EC102D5}" type="presParOf" srcId="{31EB2B16-AE57-7E43-8E54-7D1C35892F8E}" destId="{A6D3B5F4-5728-A646-B391-71321DF70F9F}" srcOrd="0" destOrd="0" presId="urn:microsoft.com/office/officeart/2005/8/layout/process4"/>
    <dgm:cxn modelId="{C93F85B2-43BE-4A49-B34D-AEC14E7138BD}" type="presParOf" srcId="{3160084F-13E8-5E44-8B11-802EE4F7B455}" destId="{6875E9BC-2502-4B46-9CD6-8861BFE05203}" srcOrd="3" destOrd="0" presId="urn:microsoft.com/office/officeart/2005/8/layout/process4"/>
    <dgm:cxn modelId="{B5D0877E-F1A6-4046-82D0-86ABA8CB89ED}" type="presParOf" srcId="{3160084F-13E8-5E44-8B11-802EE4F7B455}" destId="{C97BAFF3-547C-F14C-9B97-A05EB3FFEBC9}" srcOrd="4" destOrd="0" presId="urn:microsoft.com/office/officeart/2005/8/layout/process4"/>
    <dgm:cxn modelId="{865038DB-8C7E-984B-BB12-789C725ECB41}" type="presParOf" srcId="{C97BAFF3-547C-F14C-9B97-A05EB3FFEBC9}" destId="{A520648E-B82F-754A-BB8F-EC0009C988E5}" srcOrd="0" destOrd="0" presId="urn:microsoft.com/office/officeart/2005/8/layout/process4"/>
    <dgm:cxn modelId="{D5216DBA-2D87-9541-A2E9-99E40CEED984}" type="presParOf" srcId="{3160084F-13E8-5E44-8B11-802EE4F7B455}" destId="{BBFC6460-6CF7-B846-B645-F851C0E50551}" srcOrd="5" destOrd="0" presId="urn:microsoft.com/office/officeart/2005/8/layout/process4"/>
    <dgm:cxn modelId="{C34842E6-1294-7B42-9DEB-052782944149}" type="presParOf" srcId="{3160084F-13E8-5E44-8B11-802EE4F7B455}" destId="{FDD0D23C-7824-4247-AF41-74C8260A52E6}" srcOrd="6" destOrd="0" presId="urn:microsoft.com/office/officeart/2005/8/layout/process4"/>
    <dgm:cxn modelId="{5E62B601-07D5-6243-8A46-8D4AE8502089}" type="presParOf" srcId="{FDD0D23C-7824-4247-AF41-74C8260A52E6}" destId="{EF291D84-C98C-524C-A97E-9DB91C70770A}" srcOrd="0" destOrd="0" presId="urn:microsoft.com/office/officeart/2005/8/layout/process4"/>
    <dgm:cxn modelId="{F6DF68C0-0AC7-D24C-814D-058AA92646C6}" type="presParOf" srcId="{3160084F-13E8-5E44-8B11-802EE4F7B455}" destId="{A6B0080F-B0A7-3444-B423-53B1DE406DFE}" srcOrd="7" destOrd="0" presId="urn:microsoft.com/office/officeart/2005/8/layout/process4"/>
    <dgm:cxn modelId="{9FBB6974-D79C-224D-A942-0F2393B1EF8B}" type="presParOf" srcId="{3160084F-13E8-5E44-8B11-802EE4F7B455}" destId="{8870080B-80DB-B045-9E39-5E66F08D5CBD}" srcOrd="8" destOrd="0" presId="urn:microsoft.com/office/officeart/2005/8/layout/process4"/>
    <dgm:cxn modelId="{8EE29DF3-1399-C84B-8047-69B114F114DE}" type="presParOf" srcId="{8870080B-80DB-B045-9E39-5E66F08D5CBD}" destId="{358C4510-826A-DE43-B60F-B81FA47381B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EA88674-AE6D-664E-8D0C-C55CCEE10B9A}" type="doc">
      <dgm:prSet loTypeId="urn:microsoft.com/office/officeart/2008/layout/HorizontalMultiLevelHierarchy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BAF34FA3-9B3D-2C4B-8978-9BB270CFB7DF}">
      <dgm:prSet/>
      <dgm:spPr>
        <a:solidFill>
          <a:schemeClr val="accent2"/>
        </a:solidFill>
      </dgm:spPr>
      <dgm:t>
        <a:bodyPr/>
        <a:lstStyle/>
        <a:p>
          <a:r>
            <a:rPr lang="en-US" dirty="0"/>
            <a:t>Filters</a:t>
          </a:r>
          <a:endParaRPr lang="en-IN" dirty="0"/>
        </a:p>
      </dgm:t>
    </dgm:pt>
    <dgm:pt modelId="{73E5651E-1B1A-204A-B6AF-D8BF20FA2B61}" type="parTrans" cxnId="{F051BC05-C2D4-024F-982D-D699A315EB3A}">
      <dgm:prSet/>
      <dgm:spPr/>
      <dgm:t>
        <a:bodyPr/>
        <a:lstStyle/>
        <a:p>
          <a:endParaRPr lang="en-GB"/>
        </a:p>
      </dgm:t>
    </dgm:pt>
    <dgm:pt modelId="{E650C30F-ABC6-274E-8926-42189042667C}" type="sibTrans" cxnId="{F051BC05-C2D4-024F-982D-D699A315EB3A}">
      <dgm:prSet/>
      <dgm:spPr/>
      <dgm:t>
        <a:bodyPr/>
        <a:lstStyle/>
        <a:p>
          <a:endParaRPr lang="en-GB"/>
        </a:p>
      </dgm:t>
    </dgm:pt>
    <dgm:pt modelId="{7D47E69D-1464-FC4C-B8A4-D1117272B94C}">
      <dgm:prSet/>
      <dgm:spPr>
        <a:solidFill>
          <a:schemeClr val="accent6"/>
        </a:solidFill>
      </dgm:spPr>
      <dgm:t>
        <a:bodyPr/>
        <a:lstStyle/>
        <a:p>
          <a:r>
            <a:rPr lang="en-US" dirty="0"/>
            <a:t>Authentication Strategy</a:t>
          </a:r>
          <a:endParaRPr lang="en-IN" dirty="0"/>
        </a:p>
      </dgm:t>
    </dgm:pt>
    <dgm:pt modelId="{18E384D3-98DC-6B41-91DC-EC2AA01B8C20}" type="parTrans" cxnId="{EE6B7D50-04D7-8449-B74A-8258399BD41C}">
      <dgm:prSet/>
      <dgm:spPr/>
      <dgm:t>
        <a:bodyPr/>
        <a:lstStyle/>
        <a:p>
          <a:endParaRPr lang="en-GB"/>
        </a:p>
      </dgm:t>
    </dgm:pt>
    <dgm:pt modelId="{3A07EC42-CC43-484A-8FE4-C61809ED5938}" type="sibTrans" cxnId="{EE6B7D50-04D7-8449-B74A-8258399BD41C}">
      <dgm:prSet/>
      <dgm:spPr/>
      <dgm:t>
        <a:bodyPr/>
        <a:lstStyle/>
        <a:p>
          <a:endParaRPr lang="en-GB"/>
        </a:p>
      </dgm:t>
    </dgm:pt>
    <dgm:pt modelId="{7AAEA576-D71A-514A-9D64-A977236B5E18}">
      <dgm:prSet/>
      <dgm:spPr>
        <a:solidFill>
          <a:schemeClr val="accent1"/>
        </a:solidFill>
      </dgm:spPr>
      <dgm:t>
        <a:bodyPr/>
        <a:lstStyle/>
        <a:p>
          <a:r>
            <a:rPr lang="en-US"/>
            <a:t>login/logout extensions</a:t>
          </a:r>
          <a:endParaRPr lang="en-IN"/>
        </a:p>
      </dgm:t>
    </dgm:pt>
    <dgm:pt modelId="{5C4ECE96-D859-A94A-AE98-D02CAD36661C}" type="parTrans" cxnId="{2FEDE590-2539-C842-AAFB-9AA9281906B1}">
      <dgm:prSet/>
      <dgm:spPr/>
      <dgm:t>
        <a:bodyPr/>
        <a:lstStyle/>
        <a:p>
          <a:endParaRPr lang="en-GB"/>
        </a:p>
      </dgm:t>
    </dgm:pt>
    <dgm:pt modelId="{46339A2A-743C-E94F-A13B-DB048E622FE3}" type="sibTrans" cxnId="{2FEDE590-2539-C842-AAFB-9AA9281906B1}">
      <dgm:prSet/>
      <dgm:spPr/>
      <dgm:t>
        <a:bodyPr/>
        <a:lstStyle/>
        <a:p>
          <a:endParaRPr lang="en-GB"/>
        </a:p>
      </dgm:t>
    </dgm:pt>
    <dgm:pt modelId="{E2FEA4FF-3F3E-C445-B638-AC704CF22645}">
      <dgm:prSet/>
      <dgm:spPr>
        <a:solidFill>
          <a:schemeClr val="tx1"/>
        </a:solidFill>
      </dgm:spPr>
      <dgm:t>
        <a:bodyPr/>
        <a:lstStyle/>
        <a:p>
          <a:r>
            <a:rPr lang="en-US" dirty="0"/>
            <a:t>Authorization for Endpoint</a:t>
          </a:r>
          <a:endParaRPr lang="en-IN" dirty="0"/>
        </a:p>
      </dgm:t>
    </dgm:pt>
    <dgm:pt modelId="{4934E151-E8B3-334A-8D89-976E4EAF8E61}" type="parTrans" cxnId="{4CA6F2B4-5C80-EC42-9716-E5622E2C75C0}">
      <dgm:prSet/>
      <dgm:spPr/>
      <dgm:t>
        <a:bodyPr/>
        <a:lstStyle/>
        <a:p>
          <a:endParaRPr lang="en-GB"/>
        </a:p>
      </dgm:t>
    </dgm:pt>
    <dgm:pt modelId="{58B57CD6-787A-2E41-BFCD-BC51F7942195}" type="sibTrans" cxnId="{4CA6F2B4-5C80-EC42-9716-E5622E2C75C0}">
      <dgm:prSet/>
      <dgm:spPr/>
      <dgm:t>
        <a:bodyPr/>
        <a:lstStyle/>
        <a:p>
          <a:endParaRPr lang="en-GB"/>
        </a:p>
      </dgm:t>
    </dgm:pt>
    <dgm:pt modelId="{28EBDF0E-CD7F-0D4D-970C-016C81A00673}">
      <dgm:prSet/>
      <dgm:spPr>
        <a:solidFill>
          <a:srgbClr val="C00000"/>
        </a:solidFill>
      </dgm:spPr>
      <dgm:t>
        <a:bodyPr/>
        <a:lstStyle/>
        <a:p>
          <a:r>
            <a:rPr lang="en-US" dirty="0"/>
            <a:t>Common Threats Handling</a:t>
          </a:r>
          <a:endParaRPr lang="en-IN" dirty="0"/>
        </a:p>
      </dgm:t>
    </dgm:pt>
    <dgm:pt modelId="{8D170B7B-6E5B-084F-83CA-C2F6D535956C}" type="parTrans" cxnId="{2114E621-C238-084D-B148-68F5930D2C99}">
      <dgm:prSet/>
      <dgm:spPr/>
      <dgm:t>
        <a:bodyPr/>
        <a:lstStyle/>
        <a:p>
          <a:endParaRPr lang="en-GB"/>
        </a:p>
      </dgm:t>
    </dgm:pt>
    <dgm:pt modelId="{24D521C9-EECC-734B-B736-BA9FBADED299}" type="sibTrans" cxnId="{2114E621-C238-084D-B148-68F5930D2C99}">
      <dgm:prSet/>
      <dgm:spPr/>
      <dgm:t>
        <a:bodyPr/>
        <a:lstStyle/>
        <a:p>
          <a:endParaRPr lang="en-GB"/>
        </a:p>
      </dgm:t>
    </dgm:pt>
    <dgm:pt modelId="{1F6F6D51-9DF5-9D46-9016-26FACCBAC5E2}">
      <dgm:prSet/>
      <dgm:spPr>
        <a:solidFill>
          <a:srgbClr val="7030A0"/>
        </a:solidFill>
      </dgm:spPr>
      <dgm:t>
        <a:bodyPr/>
        <a:lstStyle/>
        <a:p>
          <a:r>
            <a:rPr lang="en-US" dirty="0"/>
            <a:t>Custom Exception Handling</a:t>
          </a:r>
          <a:endParaRPr lang="en-IN" dirty="0"/>
        </a:p>
      </dgm:t>
    </dgm:pt>
    <dgm:pt modelId="{E15A6CCC-1B13-7B49-B2BE-216E781B1415}" type="parTrans" cxnId="{F727F7CD-792F-8649-8FF2-A55B7E399D0F}">
      <dgm:prSet/>
      <dgm:spPr/>
      <dgm:t>
        <a:bodyPr/>
        <a:lstStyle/>
        <a:p>
          <a:endParaRPr lang="en-GB"/>
        </a:p>
      </dgm:t>
    </dgm:pt>
    <dgm:pt modelId="{2C721CCD-4BA0-4441-B4CF-DDB52A886FB5}" type="sibTrans" cxnId="{F727F7CD-792F-8649-8FF2-A55B7E399D0F}">
      <dgm:prSet/>
      <dgm:spPr/>
      <dgm:t>
        <a:bodyPr/>
        <a:lstStyle/>
        <a:p>
          <a:endParaRPr lang="en-GB"/>
        </a:p>
      </dgm:t>
    </dgm:pt>
    <dgm:pt modelId="{1F696A6A-6DA5-5A42-816D-B2DCBACAB8C7}">
      <dgm:prSet/>
      <dgm:spPr/>
      <dgm:t>
        <a:bodyPr/>
        <a:lstStyle/>
        <a:p>
          <a:r>
            <a:rPr lang="en-IN" dirty="0"/>
            <a:t>Http Security</a:t>
          </a:r>
        </a:p>
      </dgm:t>
    </dgm:pt>
    <dgm:pt modelId="{984E7B35-4D22-1D43-B645-0CA41F3697FB}" type="parTrans" cxnId="{18F4C74D-6B68-5A48-A87A-DD6627E2321F}">
      <dgm:prSet/>
      <dgm:spPr/>
      <dgm:t>
        <a:bodyPr/>
        <a:lstStyle/>
        <a:p>
          <a:endParaRPr lang="en-GB"/>
        </a:p>
      </dgm:t>
    </dgm:pt>
    <dgm:pt modelId="{6E407B78-352E-F049-B054-49EAF451E25C}" type="sibTrans" cxnId="{18F4C74D-6B68-5A48-A87A-DD6627E2321F}">
      <dgm:prSet/>
      <dgm:spPr/>
      <dgm:t>
        <a:bodyPr/>
        <a:lstStyle/>
        <a:p>
          <a:endParaRPr lang="en-GB"/>
        </a:p>
      </dgm:t>
    </dgm:pt>
    <dgm:pt modelId="{1FAE4D7F-30EC-3848-977F-300388682C0E}" type="pres">
      <dgm:prSet presAssocID="{7EA88674-AE6D-664E-8D0C-C55CCEE10B9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2AA77D4-3E36-5042-B43F-35F8041A97EF}" type="pres">
      <dgm:prSet presAssocID="{1F696A6A-6DA5-5A42-816D-B2DCBACAB8C7}" presName="root1" presStyleCnt="0"/>
      <dgm:spPr/>
    </dgm:pt>
    <dgm:pt modelId="{335194EB-E9FF-EF42-A841-1184DCC6E310}" type="pres">
      <dgm:prSet presAssocID="{1F696A6A-6DA5-5A42-816D-B2DCBACAB8C7}" presName="LevelOneTextNode" presStyleLbl="node0" presStyleIdx="0" presStyleCnt="1">
        <dgm:presLayoutVars>
          <dgm:chPref val="3"/>
        </dgm:presLayoutVars>
      </dgm:prSet>
      <dgm:spPr/>
    </dgm:pt>
    <dgm:pt modelId="{D3D96525-47FF-AA43-9549-01E9CA41B99B}" type="pres">
      <dgm:prSet presAssocID="{1F696A6A-6DA5-5A42-816D-B2DCBACAB8C7}" presName="level2hierChild" presStyleCnt="0"/>
      <dgm:spPr/>
    </dgm:pt>
    <dgm:pt modelId="{A81DEC10-536A-4346-88DB-A2C648D3E27E}" type="pres">
      <dgm:prSet presAssocID="{73E5651E-1B1A-204A-B6AF-D8BF20FA2B61}" presName="conn2-1" presStyleLbl="parChTrans1D2" presStyleIdx="0" presStyleCnt="6"/>
      <dgm:spPr/>
    </dgm:pt>
    <dgm:pt modelId="{88E656D4-165B-334D-B00B-72AEFF2E6143}" type="pres">
      <dgm:prSet presAssocID="{73E5651E-1B1A-204A-B6AF-D8BF20FA2B61}" presName="connTx" presStyleLbl="parChTrans1D2" presStyleIdx="0" presStyleCnt="6"/>
      <dgm:spPr/>
    </dgm:pt>
    <dgm:pt modelId="{69EDE06F-20E8-3046-9B80-7CF078A619B9}" type="pres">
      <dgm:prSet presAssocID="{BAF34FA3-9B3D-2C4B-8978-9BB270CFB7DF}" presName="root2" presStyleCnt="0"/>
      <dgm:spPr/>
    </dgm:pt>
    <dgm:pt modelId="{6EB3CF56-E71B-8040-9FEF-172C76CAADD2}" type="pres">
      <dgm:prSet presAssocID="{BAF34FA3-9B3D-2C4B-8978-9BB270CFB7DF}" presName="LevelTwoTextNode" presStyleLbl="node2" presStyleIdx="0" presStyleCnt="6" custScaleX="293128">
        <dgm:presLayoutVars>
          <dgm:chPref val="3"/>
        </dgm:presLayoutVars>
      </dgm:prSet>
      <dgm:spPr/>
    </dgm:pt>
    <dgm:pt modelId="{73F3E968-FB94-CA43-BC9B-5FB508BD8B0D}" type="pres">
      <dgm:prSet presAssocID="{BAF34FA3-9B3D-2C4B-8978-9BB270CFB7DF}" presName="level3hierChild" presStyleCnt="0"/>
      <dgm:spPr/>
    </dgm:pt>
    <dgm:pt modelId="{C601A018-6DEB-2048-B138-449B7D3D798B}" type="pres">
      <dgm:prSet presAssocID="{18E384D3-98DC-6B41-91DC-EC2AA01B8C20}" presName="conn2-1" presStyleLbl="parChTrans1D2" presStyleIdx="1" presStyleCnt="6"/>
      <dgm:spPr/>
    </dgm:pt>
    <dgm:pt modelId="{8A3A6920-5FD7-FB43-9452-53A29EB4ACC6}" type="pres">
      <dgm:prSet presAssocID="{18E384D3-98DC-6B41-91DC-EC2AA01B8C20}" presName="connTx" presStyleLbl="parChTrans1D2" presStyleIdx="1" presStyleCnt="6"/>
      <dgm:spPr/>
    </dgm:pt>
    <dgm:pt modelId="{AA4462E4-F9A1-814C-A430-BC9FE056A6AA}" type="pres">
      <dgm:prSet presAssocID="{7D47E69D-1464-FC4C-B8A4-D1117272B94C}" presName="root2" presStyleCnt="0"/>
      <dgm:spPr/>
    </dgm:pt>
    <dgm:pt modelId="{73998E5E-ED49-B948-8274-C7E1CF49DFC5}" type="pres">
      <dgm:prSet presAssocID="{7D47E69D-1464-FC4C-B8A4-D1117272B94C}" presName="LevelTwoTextNode" presStyleLbl="node2" presStyleIdx="1" presStyleCnt="6" custScaleX="293128">
        <dgm:presLayoutVars>
          <dgm:chPref val="3"/>
        </dgm:presLayoutVars>
      </dgm:prSet>
      <dgm:spPr/>
    </dgm:pt>
    <dgm:pt modelId="{0BCFD318-978F-A142-B1D4-7DC71251E3CF}" type="pres">
      <dgm:prSet presAssocID="{7D47E69D-1464-FC4C-B8A4-D1117272B94C}" presName="level3hierChild" presStyleCnt="0"/>
      <dgm:spPr/>
    </dgm:pt>
    <dgm:pt modelId="{F39BABF1-7229-1245-B8B5-F3791BAEB7E1}" type="pres">
      <dgm:prSet presAssocID="{5C4ECE96-D859-A94A-AE98-D02CAD36661C}" presName="conn2-1" presStyleLbl="parChTrans1D2" presStyleIdx="2" presStyleCnt="6"/>
      <dgm:spPr/>
    </dgm:pt>
    <dgm:pt modelId="{FABD5CE5-8F0C-F74A-9104-60D275E6E46B}" type="pres">
      <dgm:prSet presAssocID="{5C4ECE96-D859-A94A-AE98-D02CAD36661C}" presName="connTx" presStyleLbl="parChTrans1D2" presStyleIdx="2" presStyleCnt="6"/>
      <dgm:spPr/>
    </dgm:pt>
    <dgm:pt modelId="{00E986C0-0F1B-054B-B580-14CF5AB2DEF7}" type="pres">
      <dgm:prSet presAssocID="{7AAEA576-D71A-514A-9D64-A977236B5E18}" presName="root2" presStyleCnt="0"/>
      <dgm:spPr/>
    </dgm:pt>
    <dgm:pt modelId="{5989575B-C607-BE45-A585-C6E390902755}" type="pres">
      <dgm:prSet presAssocID="{7AAEA576-D71A-514A-9D64-A977236B5E18}" presName="LevelTwoTextNode" presStyleLbl="node2" presStyleIdx="2" presStyleCnt="6" custScaleX="293128">
        <dgm:presLayoutVars>
          <dgm:chPref val="3"/>
        </dgm:presLayoutVars>
      </dgm:prSet>
      <dgm:spPr/>
    </dgm:pt>
    <dgm:pt modelId="{50B99605-990B-1247-BCF8-55E637A3431C}" type="pres">
      <dgm:prSet presAssocID="{7AAEA576-D71A-514A-9D64-A977236B5E18}" presName="level3hierChild" presStyleCnt="0"/>
      <dgm:spPr/>
    </dgm:pt>
    <dgm:pt modelId="{E4B671CE-BC98-D54B-A148-8F6568018234}" type="pres">
      <dgm:prSet presAssocID="{4934E151-E8B3-334A-8D89-976E4EAF8E61}" presName="conn2-1" presStyleLbl="parChTrans1D2" presStyleIdx="3" presStyleCnt="6"/>
      <dgm:spPr/>
    </dgm:pt>
    <dgm:pt modelId="{2C87AA23-0DF2-2A4D-A260-E0B6444D34CD}" type="pres">
      <dgm:prSet presAssocID="{4934E151-E8B3-334A-8D89-976E4EAF8E61}" presName="connTx" presStyleLbl="parChTrans1D2" presStyleIdx="3" presStyleCnt="6"/>
      <dgm:spPr/>
    </dgm:pt>
    <dgm:pt modelId="{01ABB1B9-CD2C-5141-A23C-53F917543419}" type="pres">
      <dgm:prSet presAssocID="{E2FEA4FF-3F3E-C445-B638-AC704CF22645}" presName="root2" presStyleCnt="0"/>
      <dgm:spPr/>
    </dgm:pt>
    <dgm:pt modelId="{CF80C7DB-0A76-BB47-8345-84E2C92ED69F}" type="pres">
      <dgm:prSet presAssocID="{E2FEA4FF-3F3E-C445-B638-AC704CF22645}" presName="LevelTwoTextNode" presStyleLbl="node2" presStyleIdx="3" presStyleCnt="6" custScaleX="293128">
        <dgm:presLayoutVars>
          <dgm:chPref val="3"/>
        </dgm:presLayoutVars>
      </dgm:prSet>
      <dgm:spPr/>
    </dgm:pt>
    <dgm:pt modelId="{1B7007F9-8C2D-BE4F-B425-95D9C1E7A701}" type="pres">
      <dgm:prSet presAssocID="{E2FEA4FF-3F3E-C445-B638-AC704CF22645}" presName="level3hierChild" presStyleCnt="0"/>
      <dgm:spPr/>
    </dgm:pt>
    <dgm:pt modelId="{9EB2547F-FF5C-1F4A-B534-A524B2D0FFDF}" type="pres">
      <dgm:prSet presAssocID="{8D170B7B-6E5B-084F-83CA-C2F6D535956C}" presName="conn2-1" presStyleLbl="parChTrans1D2" presStyleIdx="4" presStyleCnt="6"/>
      <dgm:spPr/>
    </dgm:pt>
    <dgm:pt modelId="{8AD62695-825F-8E40-97D6-FCD3F0F70E6A}" type="pres">
      <dgm:prSet presAssocID="{8D170B7B-6E5B-084F-83CA-C2F6D535956C}" presName="connTx" presStyleLbl="parChTrans1D2" presStyleIdx="4" presStyleCnt="6"/>
      <dgm:spPr/>
    </dgm:pt>
    <dgm:pt modelId="{594F2695-772A-F847-8E2F-72E0AC532DA6}" type="pres">
      <dgm:prSet presAssocID="{28EBDF0E-CD7F-0D4D-970C-016C81A00673}" presName="root2" presStyleCnt="0"/>
      <dgm:spPr/>
    </dgm:pt>
    <dgm:pt modelId="{223A5AD9-DC34-A246-A6D8-FFA432D6D46D}" type="pres">
      <dgm:prSet presAssocID="{28EBDF0E-CD7F-0D4D-970C-016C81A00673}" presName="LevelTwoTextNode" presStyleLbl="node2" presStyleIdx="4" presStyleCnt="6" custScaleX="293128">
        <dgm:presLayoutVars>
          <dgm:chPref val="3"/>
        </dgm:presLayoutVars>
      </dgm:prSet>
      <dgm:spPr/>
    </dgm:pt>
    <dgm:pt modelId="{DDDE9580-B2DE-E24F-9EC6-E57A9F550698}" type="pres">
      <dgm:prSet presAssocID="{28EBDF0E-CD7F-0D4D-970C-016C81A00673}" presName="level3hierChild" presStyleCnt="0"/>
      <dgm:spPr/>
    </dgm:pt>
    <dgm:pt modelId="{14805215-FB81-BB49-8478-239BAA09B3E2}" type="pres">
      <dgm:prSet presAssocID="{E15A6CCC-1B13-7B49-B2BE-216E781B1415}" presName="conn2-1" presStyleLbl="parChTrans1D2" presStyleIdx="5" presStyleCnt="6"/>
      <dgm:spPr/>
    </dgm:pt>
    <dgm:pt modelId="{37F479D3-CA4B-DA49-AA94-AEA75C6088FE}" type="pres">
      <dgm:prSet presAssocID="{E15A6CCC-1B13-7B49-B2BE-216E781B1415}" presName="connTx" presStyleLbl="parChTrans1D2" presStyleIdx="5" presStyleCnt="6"/>
      <dgm:spPr/>
    </dgm:pt>
    <dgm:pt modelId="{52ADD28B-0F91-DE41-8758-CDCB016522A5}" type="pres">
      <dgm:prSet presAssocID="{1F6F6D51-9DF5-9D46-9016-26FACCBAC5E2}" presName="root2" presStyleCnt="0"/>
      <dgm:spPr/>
    </dgm:pt>
    <dgm:pt modelId="{47C8577C-2B8A-0541-B0AB-A1033B7B2EEF}" type="pres">
      <dgm:prSet presAssocID="{1F6F6D51-9DF5-9D46-9016-26FACCBAC5E2}" presName="LevelTwoTextNode" presStyleLbl="node2" presStyleIdx="5" presStyleCnt="6" custScaleX="293128">
        <dgm:presLayoutVars>
          <dgm:chPref val="3"/>
        </dgm:presLayoutVars>
      </dgm:prSet>
      <dgm:spPr/>
    </dgm:pt>
    <dgm:pt modelId="{E9785DA2-53C9-AA4E-A445-FF58019A6B61}" type="pres">
      <dgm:prSet presAssocID="{1F6F6D51-9DF5-9D46-9016-26FACCBAC5E2}" presName="level3hierChild" presStyleCnt="0"/>
      <dgm:spPr/>
    </dgm:pt>
  </dgm:ptLst>
  <dgm:cxnLst>
    <dgm:cxn modelId="{F051BC05-C2D4-024F-982D-D699A315EB3A}" srcId="{1F696A6A-6DA5-5A42-816D-B2DCBACAB8C7}" destId="{BAF34FA3-9B3D-2C4B-8978-9BB270CFB7DF}" srcOrd="0" destOrd="0" parTransId="{73E5651E-1B1A-204A-B6AF-D8BF20FA2B61}" sibTransId="{E650C30F-ABC6-274E-8926-42189042667C}"/>
    <dgm:cxn modelId="{F09D0C0B-BA23-1D4E-BE95-0E14CF8F3642}" type="presOf" srcId="{73E5651E-1B1A-204A-B6AF-D8BF20FA2B61}" destId="{A81DEC10-536A-4346-88DB-A2C648D3E27E}" srcOrd="0" destOrd="0" presId="urn:microsoft.com/office/officeart/2008/layout/HorizontalMultiLevelHierarchy"/>
    <dgm:cxn modelId="{DFFD6D0F-22A5-5F46-9E87-75B7CBDB51C7}" type="presOf" srcId="{E15A6CCC-1B13-7B49-B2BE-216E781B1415}" destId="{14805215-FB81-BB49-8478-239BAA09B3E2}" srcOrd="0" destOrd="0" presId="urn:microsoft.com/office/officeart/2008/layout/HorizontalMultiLevelHierarchy"/>
    <dgm:cxn modelId="{2114E621-C238-084D-B148-68F5930D2C99}" srcId="{1F696A6A-6DA5-5A42-816D-B2DCBACAB8C7}" destId="{28EBDF0E-CD7F-0D4D-970C-016C81A00673}" srcOrd="4" destOrd="0" parTransId="{8D170B7B-6E5B-084F-83CA-C2F6D535956C}" sibTransId="{24D521C9-EECC-734B-B736-BA9FBADED299}"/>
    <dgm:cxn modelId="{3C892A26-6594-CC43-B155-85FF7C81744E}" type="presOf" srcId="{8D170B7B-6E5B-084F-83CA-C2F6D535956C}" destId="{9EB2547F-FF5C-1F4A-B534-A524B2D0FFDF}" srcOrd="0" destOrd="0" presId="urn:microsoft.com/office/officeart/2008/layout/HorizontalMultiLevelHierarchy"/>
    <dgm:cxn modelId="{779E322A-D3A3-554B-AE34-6D69D65D6973}" type="presOf" srcId="{18E384D3-98DC-6B41-91DC-EC2AA01B8C20}" destId="{C601A018-6DEB-2048-B138-449B7D3D798B}" srcOrd="0" destOrd="0" presId="urn:microsoft.com/office/officeart/2008/layout/HorizontalMultiLevelHierarchy"/>
    <dgm:cxn modelId="{D3811A2B-DACF-074D-934A-3C7CCFCFA31D}" type="presOf" srcId="{73E5651E-1B1A-204A-B6AF-D8BF20FA2B61}" destId="{88E656D4-165B-334D-B00B-72AEFF2E6143}" srcOrd="1" destOrd="0" presId="urn:microsoft.com/office/officeart/2008/layout/HorizontalMultiLevelHierarchy"/>
    <dgm:cxn modelId="{F9C8E63D-A273-E64D-B0D8-6B7AB5E7A6DC}" type="presOf" srcId="{7D47E69D-1464-FC4C-B8A4-D1117272B94C}" destId="{73998E5E-ED49-B948-8274-C7E1CF49DFC5}" srcOrd="0" destOrd="0" presId="urn:microsoft.com/office/officeart/2008/layout/HorizontalMultiLevelHierarchy"/>
    <dgm:cxn modelId="{8146D73E-FAAC-344F-8841-E4951DB3ECEB}" type="presOf" srcId="{7EA88674-AE6D-664E-8D0C-C55CCEE10B9A}" destId="{1FAE4D7F-30EC-3848-977F-300388682C0E}" srcOrd="0" destOrd="0" presId="urn:microsoft.com/office/officeart/2008/layout/HorizontalMultiLevelHierarchy"/>
    <dgm:cxn modelId="{FC46CB44-0107-5A47-B57E-9F4434D14705}" type="presOf" srcId="{1F696A6A-6DA5-5A42-816D-B2DCBACAB8C7}" destId="{335194EB-E9FF-EF42-A841-1184DCC6E310}" srcOrd="0" destOrd="0" presId="urn:microsoft.com/office/officeart/2008/layout/HorizontalMultiLevelHierarchy"/>
    <dgm:cxn modelId="{18F4C74D-6B68-5A48-A87A-DD6627E2321F}" srcId="{7EA88674-AE6D-664E-8D0C-C55CCEE10B9A}" destId="{1F696A6A-6DA5-5A42-816D-B2DCBACAB8C7}" srcOrd="0" destOrd="0" parTransId="{984E7B35-4D22-1D43-B645-0CA41F3697FB}" sibTransId="{6E407B78-352E-F049-B054-49EAF451E25C}"/>
    <dgm:cxn modelId="{EE6B7D50-04D7-8449-B74A-8258399BD41C}" srcId="{1F696A6A-6DA5-5A42-816D-B2DCBACAB8C7}" destId="{7D47E69D-1464-FC4C-B8A4-D1117272B94C}" srcOrd="1" destOrd="0" parTransId="{18E384D3-98DC-6B41-91DC-EC2AA01B8C20}" sibTransId="{3A07EC42-CC43-484A-8FE4-C61809ED5938}"/>
    <dgm:cxn modelId="{FBA2AF65-1004-A14B-B1E8-C7353714EE2D}" type="presOf" srcId="{18E384D3-98DC-6B41-91DC-EC2AA01B8C20}" destId="{8A3A6920-5FD7-FB43-9452-53A29EB4ACC6}" srcOrd="1" destOrd="0" presId="urn:microsoft.com/office/officeart/2008/layout/HorizontalMultiLevelHierarchy"/>
    <dgm:cxn modelId="{AB5C4F67-DEB4-DB41-A124-CD97B22B5C98}" type="presOf" srcId="{8D170B7B-6E5B-084F-83CA-C2F6D535956C}" destId="{8AD62695-825F-8E40-97D6-FCD3F0F70E6A}" srcOrd="1" destOrd="0" presId="urn:microsoft.com/office/officeart/2008/layout/HorizontalMultiLevelHierarchy"/>
    <dgm:cxn modelId="{4135E272-7D03-7C4D-90AF-74ADD65C3EBE}" type="presOf" srcId="{E2FEA4FF-3F3E-C445-B638-AC704CF22645}" destId="{CF80C7DB-0A76-BB47-8345-84E2C92ED69F}" srcOrd="0" destOrd="0" presId="urn:microsoft.com/office/officeart/2008/layout/HorizontalMultiLevelHierarchy"/>
    <dgm:cxn modelId="{1B471775-A72B-D642-9C03-09F449C841F4}" type="presOf" srcId="{4934E151-E8B3-334A-8D89-976E4EAF8E61}" destId="{2C87AA23-0DF2-2A4D-A260-E0B6444D34CD}" srcOrd="1" destOrd="0" presId="urn:microsoft.com/office/officeart/2008/layout/HorizontalMultiLevelHierarchy"/>
    <dgm:cxn modelId="{8961178D-34DC-574C-9290-798D1DD5A80B}" type="presOf" srcId="{E15A6CCC-1B13-7B49-B2BE-216E781B1415}" destId="{37F479D3-CA4B-DA49-AA94-AEA75C6088FE}" srcOrd="1" destOrd="0" presId="urn:microsoft.com/office/officeart/2008/layout/HorizontalMultiLevelHierarchy"/>
    <dgm:cxn modelId="{2FEDE590-2539-C842-AAFB-9AA9281906B1}" srcId="{1F696A6A-6DA5-5A42-816D-B2DCBACAB8C7}" destId="{7AAEA576-D71A-514A-9D64-A977236B5E18}" srcOrd="2" destOrd="0" parTransId="{5C4ECE96-D859-A94A-AE98-D02CAD36661C}" sibTransId="{46339A2A-743C-E94F-A13B-DB048E622FE3}"/>
    <dgm:cxn modelId="{A239E197-3A9D-3444-82F1-1377D0DBC7F1}" type="presOf" srcId="{1F6F6D51-9DF5-9D46-9016-26FACCBAC5E2}" destId="{47C8577C-2B8A-0541-B0AB-A1033B7B2EEF}" srcOrd="0" destOrd="0" presId="urn:microsoft.com/office/officeart/2008/layout/HorizontalMultiLevelHierarchy"/>
    <dgm:cxn modelId="{454C5D9C-8A6E-D247-A13D-0FEAF3608A3C}" type="presOf" srcId="{BAF34FA3-9B3D-2C4B-8978-9BB270CFB7DF}" destId="{6EB3CF56-E71B-8040-9FEF-172C76CAADD2}" srcOrd="0" destOrd="0" presId="urn:microsoft.com/office/officeart/2008/layout/HorizontalMultiLevelHierarchy"/>
    <dgm:cxn modelId="{1E375E9C-F2F6-2E44-8E94-83CDC2BADB8F}" type="presOf" srcId="{5C4ECE96-D859-A94A-AE98-D02CAD36661C}" destId="{FABD5CE5-8F0C-F74A-9104-60D275E6E46B}" srcOrd="1" destOrd="0" presId="urn:microsoft.com/office/officeart/2008/layout/HorizontalMultiLevelHierarchy"/>
    <dgm:cxn modelId="{4CA6F2B4-5C80-EC42-9716-E5622E2C75C0}" srcId="{1F696A6A-6DA5-5A42-816D-B2DCBACAB8C7}" destId="{E2FEA4FF-3F3E-C445-B638-AC704CF22645}" srcOrd="3" destOrd="0" parTransId="{4934E151-E8B3-334A-8D89-976E4EAF8E61}" sibTransId="{58B57CD6-787A-2E41-BFCD-BC51F7942195}"/>
    <dgm:cxn modelId="{F727F7CD-792F-8649-8FF2-A55B7E399D0F}" srcId="{1F696A6A-6DA5-5A42-816D-B2DCBACAB8C7}" destId="{1F6F6D51-9DF5-9D46-9016-26FACCBAC5E2}" srcOrd="5" destOrd="0" parTransId="{E15A6CCC-1B13-7B49-B2BE-216E781B1415}" sibTransId="{2C721CCD-4BA0-4441-B4CF-DDB52A886FB5}"/>
    <dgm:cxn modelId="{315F5BE6-A21E-884F-B577-3869E1FDB36D}" type="presOf" srcId="{4934E151-E8B3-334A-8D89-976E4EAF8E61}" destId="{E4B671CE-BC98-D54B-A148-8F6568018234}" srcOrd="0" destOrd="0" presId="urn:microsoft.com/office/officeart/2008/layout/HorizontalMultiLevelHierarchy"/>
    <dgm:cxn modelId="{B06FD8EF-14BF-FF47-B25F-898199AED16E}" type="presOf" srcId="{28EBDF0E-CD7F-0D4D-970C-016C81A00673}" destId="{223A5AD9-DC34-A246-A6D8-FFA432D6D46D}" srcOrd="0" destOrd="0" presId="urn:microsoft.com/office/officeart/2008/layout/HorizontalMultiLevelHierarchy"/>
    <dgm:cxn modelId="{5802A8F0-A9C2-9541-9D9C-8B11B554DDDF}" type="presOf" srcId="{7AAEA576-D71A-514A-9D64-A977236B5E18}" destId="{5989575B-C607-BE45-A585-C6E390902755}" srcOrd="0" destOrd="0" presId="urn:microsoft.com/office/officeart/2008/layout/HorizontalMultiLevelHierarchy"/>
    <dgm:cxn modelId="{9075EBFF-FE2B-194F-965F-A87C9BCC4506}" type="presOf" srcId="{5C4ECE96-D859-A94A-AE98-D02CAD36661C}" destId="{F39BABF1-7229-1245-B8B5-F3791BAEB7E1}" srcOrd="0" destOrd="0" presId="urn:microsoft.com/office/officeart/2008/layout/HorizontalMultiLevelHierarchy"/>
    <dgm:cxn modelId="{F2B9C97A-5093-8C49-808D-DCB5986B63C7}" type="presParOf" srcId="{1FAE4D7F-30EC-3848-977F-300388682C0E}" destId="{22AA77D4-3E36-5042-B43F-35F8041A97EF}" srcOrd="0" destOrd="0" presId="urn:microsoft.com/office/officeart/2008/layout/HorizontalMultiLevelHierarchy"/>
    <dgm:cxn modelId="{CDC6635A-BFCC-2445-B77D-D0B0F73B033A}" type="presParOf" srcId="{22AA77D4-3E36-5042-B43F-35F8041A97EF}" destId="{335194EB-E9FF-EF42-A841-1184DCC6E310}" srcOrd="0" destOrd="0" presId="urn:microsoft.com/office/officeart/2008/layout/HorizontalMultiLevelHierarchy"/>
    <dgm:cxn modelId="{43A6C33F-5582-C244-B56F-568A32C2F6A8}" type="presParOf" srcId="{22AA77D4-3E36-5042-B43F-35F8041A97EF}" destId="{D3D96525-47FF-AA43-9549-01E9CA41B99B}" srcOrd="1" destOrd="0" presId="urn:microsoft.com/office/officeart/2008/layout/HorizontalMultiLevelHierarchy"/>
    <dgm:cxn modelId="{C6E4F664-73A5-ED46-A039-7E3DDAF77FEE}" type="presParOf" srcId="{D3D96525-47FF-AA43-9549-01E9CA41B99B}" destId="{A81DEC10-536A-4346-88DB-A2C648D3E27E}" srcOrd="0" destOrd="0" presId="urn:microsoft.com/office/officeart/2008/layout/HorizontalMultiLevelHierarchy"/>
    <dgm:cxn modelId="{E3B9BFE3-45C0-F84B-BFA2-23B3F6002501}" type="presParOf" srcId="{A81DEC10-536A-4346-88DB-A2C648D3E27E}" destId="{88E656D4-165B-334D-B00B-72AEFF2E6143}" srcOrd="0" destOrd="0" presId="urn:microsoft.com/office/officeart/2008/layout/HorizontalMultiLevelHierarchy"/>
    <dgm:cxn modelId="{6CCD09FC-4263-0F46-B495-BACE57CBD2EB}" type="presParOf" srcId="{D3D96525-47FF-AA43-9549-01E9CA41B99B}" destId="{69EDE06F-20E8-3046-9B80-7CF078A619B9}" srcOrd="1" destOrd="0" presId="urn:microsoft.com/office/officeart/2008/layout/HorizontalMultiLevelHierarchy"/>
    <dgm:cxn modelId="{49E96F54-70AE-AF40-867B-2E26A1DBEFF6}" type="presParOf" srcId="{69EDE06F-20E8-3046-9B80-7CF078A619B9}" destId="{6EB3CF56-E71B-8040-9FEF-172C76CAADD2}" srcOrd="0" destOrd="0" presId="urn:microsoft.com/office/officeart/2008/layout/HorizontalMultiLevelHierarchy"/>
    <dgm:cxn modelId="{D65EE850-356A-D040-8D7A-A3431D24176C}" type="presParOf" srcId="{69EDE06F-20E8-3046-9B80-7CF078A619B9}" destId="{73F3E968-FB94-CA43-BC9B-5FB508BD8B0D}" srcOrd="1" destOrd="0" presId="urn:microsoft.com/office/officeart/2008/layout/HorizontalMultiLevelHierarchy"/>
    <dgm:cxn modelId="{14B04C3C-CBA3-1A48-B59F-9F6F677A9C9E}" type="presParOf" srcId="{D3D96525-47FF-AA43-9549-01E9CA41B99B}" destId="{C601A018-6DEB-2048-B138-449B7D3D798B}" srcOrd="2" destOrd="0" presId="urn:microsoft.com/office/officeart/2008/layout/HorizontalMultiLevelHierarchy"/>
    <dgm:cxn modelId="{A5F145A4-25D3-D24E-8640-9418B2007C51}" type="presParOf" srcId="{C601A018-6DEB-2048-B138-449B7D3D798B}" destId="{8A3A6920-5FD7-FB43-9452-53A29EB4ACC6}" srcOrd="0" destOrd="0" presId="urn:microsoft.com/office/officeart/2008/layout/HorizontalMultiLevelHierarchy"/>
    <dgm:cxn modelId="{25B2E4C1-8058-A348-A1B9-915020205447}" type="presParOf" srcId="{D3D96525-47FF-AA43-9549-01E9CA41B99B}" destId="{AA4462E4-F9A1-814C-A430-BC9FE056A6AA}" srcOrd="3" destOrd="0" presId="urn:microsoft.com/office/officeart/2008/layout/HorizontalMultiLevelHierarchy"/>
    <dgm:cxn modelId="{47AE74D5-B0DB-D849-907F-3CDEDAB01783}" type="presParOf" srcId="{AA4462E4-F9A1-814C-A430-BC9FE056A6AA}" destId="{73998E5E-ED49-B948-8274-C7E1CF49DFC5}" srcOrd="0" destOrd="0" presId="urn:microsoft.com/office/officeart/2008/layout/HorizontalMultiLevelHierarchy"/>
    <dgm:cxn modelId="{54EB4500-42CC-AE4E-9D0A-630DBC44F97D}" type="presParOf" srcId="{AA4462E4-F9A1-814C-A430-BC9FE056A6AA}" destId="{0BCFD318-978F-A142-B1D4-7DC71251E3CF}" srcOrd="1" destOrd="0" presId="urn:microsoft.com/office/officeart/2008/layout/HorizontalMultiLevelHierarchy"/>
    <dgm:cxn modelId="{14258D9A-3D02-914F-9CA3-0D112588CD3D}" type="presParOf" srcId="{D3D96525-47FF-AA43-9549-01E9CA41B99B}" destId="{F39BABF1-7229-1245-B8B5-F3791BAEB7E1}" srcOrd="4" destOrd="0" presId="urn:microsoft.com/office/officeart/2008/layout/HorizontalMultiLevelHierarchy"/>
    <dgm:cxn modelId="{EA91B18B-79C2-DD48-B4BF-4A94790A6E6B}" type="presParOf" srcId="{F39BABF1-7229-1245-B8B5-F3791BAEB7E1}" destId="{FABD5CE5-8F0C-F74A-9104-60D275E6E46B}" srcOrd="0" destOrd="0" presId="urn:microsoft.com/office/officeart/2008/layout/HorizontalMultiLevelHierarchy"/>
    <dgm:cxn modelId="{3D192E2F-744E-174A-A944-060FFE50D653}" type="presParOf" srcId="{D3D96525-47FF-AA43-9549-01E9CA41B99B}" destId="{00E986C0-0F1B-054B-B580-14CF5AB2DEF7}" srcOrd="5" destOrd="0" presId="urn:microsoft.com/office/officeart/2008/layout/HorizontalMultiLevelHierarchy"/>
    <dgm:cxn modelId="{6017555E-8736-FB4C-B631-A1D3254EDABB}" type="presParOf" srcId="{00E986C0-0F1B-054B-B580-14CF5AB2DEF7}" destId="{5989575B-C607-BE45-A585-C6E390902755}" srcOrd="0" destOrd="0" presId="urn:microsoft.com/office/officeart/2008/layout/HorizontalMultiLevelHierarchy"/>
    <dgm:cxn modelId="{37A4161E-69D1-F149-9BF3-556E58EA0E77}" type="presParOf" srcId="{00E986C0-0F1B-054B-B580-14CF5AB2DEF7}" destId="{50B99605-990B-1247-BCF8-55E637A3431C}" srcOrd="1" destOrd="0" presId="urn:microsoft.com/office/officeart/2008/layout/HorizontalMultiLevelHierarchy"/>
    <dgm:cxn modelId="{8A9A3310-439B-3045-B635-E89A7878D299}" type="presParOf" srcId="{D3D96525-47FF-AA43-9549-01E9CA41B99B}" destId="{E4B671CE-BC98-D54B-A148-8F6568018234}" srcOrd="6" destOrd="0" presId="urn:microsoft.com/office/officeart/2008/layout/HorizontalMultiLevelHierarchy"/>
    <dgm:cxn modelId="{4145FB51-CB09-9E42-AAFD-01A52F84E30A}" type="presParOf" srcId="{E4B671CE-BC98-D54B-A148-8F6568018234}" destId="{2C87AA23-0DF2-2A4D-A260-E0B6444D34CD}" srcOrd="0" destOrd="0" presId="urn:microsoft.com/office/officeart/2008/layout/HorizontalMultiLevelHierarchy"/>
    <dgm:cxn modelId="{4C9775D1-5009-4F4E-A528-117D473F0940}" type="presParOf" srcId="{D3D96525-47FF-AA43-9549-01E9CA41B99B}" destId="{01ABB1B9-CD2C-5141-A23C-53F917543419}" srcOrd="7" destOrd="0" presId="urn:microsoft.com/office/officeart/2008/layout/HorizontalMultiLevelHierarchy"/>
    <dgm:cxn modelId="{F157FA42-F83A-874D-9ECC-13017A06F361}" type="presParOf" srcId="{01ABB1B9-CD2C-5141-A23C-53F917543419}" destId="{CF80C7DB-0A76-BB47-8345-84E2C92ED69F}" srcOrd="0" destOrd="0" presId="urn:microsoft.com/office/officeart/2008/layout/HorizontalMultiLevelHierarchy"/>
    <dgm:cxn modelId="{B13672A1-8AA0-674C-A811-83A073C2AAE9}" type="presParOf" srcId="{01ABB1B9-CD2C-5141-A23C-53F917543419}" destId="{1B7007F9-8C2D-BE4F-B425-95D9C1E7A701}" srcOrd="1" destOrd="0" presId="urn:microsoft.com/office/officeart/2008/layout/HorizontalMultiLevelHierarchy"/>
    <dgm:cxn modelId="{1E2A1F4B-EC4B-F940-9296-FE47E2A3D3D4}" type="presParOf" srcId="{D3D96525-47FF-AA43-9549-01E9CA41B99B}" destId="{9EB2547F-FF5C-1F4A-B534-A524B2D0FFDF}" srcOrd="8" destOrd="0" presId="urn:microsoft.com/office/officeart/2008/layout/HorizontalMultiLevelHierarchy"/>
    <dgm:cxn modelId="{8D5C3247-833C-BE4E-A755-BC1DED41D7A2}" type="presParOf" srcId="{9EB2547F-FF5C-1F4A-B534-A524B2D0FFDF}" destId="{8AD62695-825F-8E40-97D6-FCD3F0F70E6A}" srcOrd="0" destOrd="0" presId="urn:microsoft.com/office/officeart/2008/layout/HorizontalMultiLevelHierarchy"/>
    <dgm:cxn modelId="{9F3A2F0E-5C4A-D343-8E48-B58C74EF2F33}" type="presParOf" srcId="{D3D96525-47FF-AA43-9549-01E9CA41B99B}" destId="{594F2695-772A-F847-8E2F-72E0AC532DA6}" srcOrd="9" destOrd="0" presId="urn:microsoft.com/office/officeart/2008/layout/HorizontalMultiLevelHierarchy"/>
    <dgm:cxn modelId="{57BFEC1E-741F-0E44-AFD8-FE60A828F5EE}" type="presParOf" srcId="{594F2695-772A-F847-8E2F-72E0AC532DA6}" destId="{223A5AD9-DC34-A246-A6D8-FFA432D6D46D}" srcOrd="0" destOrd="0" presId="urn:microsoft.com/office/officeart/2008/layout/HorizontalMultiLevelHierarchy"/>
    <dgm:cxn modelId="{C48D0C7B-34FC-F240-BBED-A646E58CE984}" type="presParOf" srcId="{594F2695-772A-F847-8E2F-72E0AC532DA6}" destId="{DDDE9580-B2DE-E24F-9EC6-E57A9F550698}" srcOrd="1" destOrd="0" presId="urn:microsoft.com/office/officeart/2008/layout/HorizontalMultiLevelHierarchy"/>
    <dgm:cxn modelId="{2AFFB5F0-96CC-2242-829E-6CB054649B3E}" type="presParOf" srcId="{D3D96525-47FF-AA43-9549-01E9CA41B99B}" destId="{14805215-FB81-BB49-8478-239BAA09B3E2}" srcOrd="10" destOrd="0" presId="urn:microsoft.com/office/officeart/2008/layout/HorizontalMultiLevelHierarchy"/>
    <dgm:cxn modelId="{CD49541D-BF36-3540-A14C-14E5C60058E9}" type="presParOf" srcId="{14805215-FB81-BB49-8478-239BAA09B3E2}" destId="{37F479D3-CA4B-DA49-AA94-AEA75C6088FE}" srcOrd="0" destOrd="0" presId="urn:microsoft.com/office/officeart/2008/layout/HorizontalMultiLevelHierarchy"/>
    <dgm:cxn modelId="{23696ABF-032D-2A43-851F-52A40622798B}" type="presParOf" srcId="{D3D96525-47FF-AA43-9549-01E9CA41B99B}" destId="{52ADD28B-0F91-DE41-8758-CDCB016522A5}" srcOrd="11" destOrd="0" presId="urn:microsoft.com/office/officeart/2008/layout/HorizontalMultiLevelHierarchy"/>
    <dgm:cxn modelId="{613009E1-D775-A745-90DE-B412C16D11DC}" type="presParOf" srcId="{52ADD28B-0F91-DE41-8758-CDCB016522A5}" destId="{47C8577C-2B8A-0541-B0AB-A1033B7B2EEF}" srcOrd="0" destOrd="0" presId="urn:microsoft.com/office/officeart/2008/layout/HorizontalMultiLevelHierarchy"/>
    <dgm:cxn modelId="{7183270F-93BD-8140-9835-DEDF01C80119}" type="presParOf" srcId="{52ADD28B-0F91-DE41-8758-CDCB016522A5}" destId="{E9785DA2-53C9-AA4E-A445-FF58019A6B61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B1DF777-5E2D-CF46-91C4-3CAB8EA12DCA}" type="doc">
      <dgm:prSet loTypeId="urn:microsoft.com/office/officeart/2005/8/layout/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FF674FBB-F805-7A41-B455-7B4D1DA831A5}">
      <dgm:prSet/>
      <dgm:spPr/>
      <dgm:t>
        <a:bodyPr/>
        <a:lstStyle/>
        <a:p>
          <a:r>
            <a:rPr lang="en-GB" dirty="0" err="1"/>
            <a:t>SecurityContextPersistenceFilter</a:t>
          </a:r>
          <a:endParaRPr lang="en-IN" dirty="0"/>
        </a:p>
      </dgm:t>
    </dgm:pt>
    <dgm:pt modelId="{21635C77-BDCA-E24B-AD52-B8C9B462E561}" type="parTrans" cxnId="{D20478A2-D2F8-E044-A07A-0115B65792DA}">
      <dgm:prSet/>
      <dgm:spPr/>
      <dgm:t>
        <a:bodyPr/>
        <a:lstStyle/>
        <a:p>
          <a:endParaRPr lang="en-GB"/>
        </a:p>
      </dgm:t>
    </dgm:pt>
    <dgm:pt modelId="{F70E2761-BC89-514E-902B-A9781A5C5EB0}" type="sibTrans" cxnId="{D20478A2-D2F8-E044-A07A-0115B65792DA}">
      <dgm:prSet/>
      <dgm:spPr/>
      <dgm:t>
        <a:bodyPr/>
        <a:lstStyle/>
        <a:p>
          <a:endParaRPr lang="en-GB"/>
        </a:p>
      </dgm:t>
    </dgm:pt>
    <dgm:pt modelId="{090AC0C7-09F4-3A41-B3C1-16B1767EA80C}">
      <dgm:prSet/>
      <dgm:spPr>
        <a:solidFill>
          <a:schemeClr val="accent4"/>
        </a:solidFill>
      </dgm:spPr>
      <dgm:t>
        <a:bodyPr/>
        <a:lstStyle/>
        <a:p>
          <a:r>
            <a:rPr lang="en-GB" dirty="0" err="1"/>
            <a:t>AuthenticationFilters</a:t>
          </a:r>
          <a:r>
            <a:rPr lang="en-GB" dirty="0"/>
            <a:t> (Basic, Form, etc)</a:t>
          </a:r>
          <a:endParaRPr lang="en-IN" dirty="0"/>
        </a:p>
      </dgm:t>
    </dgm:pt>
    <dgm:pt modelId="{6AB65DF4-333E-4446-87FC-5CEFF7718C01}" type="parTrans" cxnId="{D7C792E4-6F46-394C-8CD2-58EAEA5E7D61}">
      <dgm:prSet/>
      <dgm:spPr/>
      <dgm:t>
        <a:bodyPr/>
        <a:lstStyle/>
        <a:p>
          <a:endParaRPr lang="en-GB"/>
        </a:p>
      </dgm:t>
    </dgm:pt>
    <dgm:pt modelId="{0A619B54-1EFE-A443-ADF2-DFDD377D5D08}" type="sibTrans" cxnId="{D7C792E4-6F46-394C-8CD2-58EAEA5E7D61}">
      <dgm:prSet/>
      <dgm:spPr/>
      <dgm:t>
        <a:bodyPr/>
        <a:lstStyle/>
        <a:p>
          <a:endParaRPr lang="en-GB"/>
        </a:p>
      </dgm:t>
    </dgm:pt>
    <dgm:pt modelId="{80F24EC3-5D6B-B042-A422-F05EEA5359B5}">
      <dgm:prSet/>
      <dgm:spPr/>
      <dgm:t>
        <a:bodyPr/>
        <a:lstStyle/>
        <a:p>
          <a:r>
            <a:rPr lang="en-GB"/>
            <a:t>AnonymousAuthenticationFilter</a:t>
          </a:r>
          <a:endParaRPr lang="en-IN"/>
        </a:p>
      </dgm:t>
    </dgm:pt>
    <dgm:pt modelId="{8EFD57EE-0350-7748-BEFC-0A8E220F32EB}" type="parTrans" cxnId="{7E030DF8-A3B4-A347-B621-BC561A9D3E59}">
      <dgm:prSet/>
      <dgm:spPr/>
      <dgm:t>
        <a:bodyPr/>
        <a:lstStyle/>
        <a:p>
          <a:endParaRPr lang="en-GB"/>
        </a:p>
      </dgm:t>
    </dgm:pt>
    <dgm:pt modelId="{CF4FE2E9-0828-8B49-A9CF-A736BE73C971}" type="sibTrans" cxnId="{7E030DF8-A3B4-A347-B621-BC561A9D3E59}">
      <dgm:prSet/>
      <dgm:spPr/>
      <dgm:t>
        <a:bodyPr/>
        <a:lstStyle/>
        <a:p>
          <a:endParaRPr lang="en-GB"/>
        </a:p>
      </dgm:t>
    </dgm:pt>
    <dgm:pt modelId="{C90A0A5E-4623-4141-8233-D195AB7F2908}">
      <dgm:prSet/>
      <dgm:spPr/>
      <dgm:t>
        <a:bodyPr/>
        <a:lstStyle/>
        <a:p>
          <a:r>
            <a:rPr lang="en-GB"/>
            <a:t>ExceptionTranslationFilter</a:t>
          </a:r>
          <a:endParaRPr lang="en-IN"/>
        </a:p>
      </dgm:t>
    </dgm:pt>
    <dgm:pt modelId="{E0CFE4FA-B889-BD4C-8B70-541DAD9D0B79}" type="parTrans" cxnId="{A77B0B59-55B2-8640-9B5D-3ABE25522C86}">
      <dgm:prSet/>
      <dgm:spPr/>
      <dgm:t>
        <a:bodyPr/>
        <a:lstStyle/>
        <a:p>
          <a:endParaRPr lang="en-GB"/>
        </a:p>
      </dgm:t>
    </dgm:pt>
    <dgm:pt modelId="{48C7A78E-7A8C-7844-9D7D-365BCC97CFED}" type="sibTrans" cxnId="{A77B0B59-55B2-8640-9B5D-3ABE25522C86}">
      <dgm:prSet/>
      <dgm:spPr/>
      <dgm:t>
        <a:bodyPr/>
        <a:lstStyle/>
        <a:p>
          <a:endParaRPr lang="en-GB"/>
        </a:p>
      </dgm:t>
    </dgm:pt>
    <dgm:pt modelId="{327D7AD2-4284-8249-88F9-10F6FFC70DEF}">
      <dgm:prSet/>
      <dgm:spPr/>
      <dgm:t>
        <a:bodyPr/>
        <a:lstStyle/>
        <a:p>
          <a:r>
            <a:rPr lang="en-GB"/>
            <a:t>FilterSecurityInterceptor</a:t>
          </a:r>
          <a:endParaRPr lang="en-IN"/>
        </a:p>
      </dgm:t>
    </dgm:pt>
    <dgm:pt modelId="{1AF9EA9A-209E-7241-978F-6B3D15FCF7AD}" type="parTrans" cxnId="{ECE4F3F7-7A54-D24C-902E-CC7BB1C0F809}">
      <dgm:prSet/>
      <dgm:spPr/>
      <dgm:t>
        <a:bodyPr/>
        <a:lstStyle/>
        <a:p>
          <a:endParaRPr lang="en-GB"/>
        </a:p>
      </dgm:t>
    </dgm:pt>
    <dgm:pt modelId="{34348454-E2A8-0740-BB7C-04753D6300E7}" type="sibTrans" cxnId="{ECE4F3F7-7A54-D24C-902E-CC7BB1C0F809}">
      <dgm:prSet/>
      <dgm:spPr/>
      <dgm:t>
        <a:bodyPr/>
        <a:lstStyle/>
        <a:p>
          <a:endParaRPr lang="en-GB"/>
        </a:p>
      </dgm:t>
    </dgm:pt>
    <dgm:pt modelId="{3160084F-13E8-5E44-8B11-802EE4F7B455}" type="pres">
      <dgm:prSet presAssocID="{DB1DF777-5E2D-CF46-91C4-3CAB8EA12DCA}" presName="Name0" presStyleCnt="0">
        <dgm:presLayoutVars>
          <dgm:dir/>
          <dgm:animLvl val="lvl"/>
          <dgm:resizeHandles val="exact"/>
        </dgm:presLayoutVars>
      </dgm:prSet>
      <dgm:spPr/>
    </dgm:pt>
    <dgm:pt modelId="{61918845-F588-DA4A-91C9-955497C7B1EB}" type="pres">
      <dgm:prSet presAssocID="{327D7AD2-4284-8249-88F9-10F6FFC70DEF}" presName="boxAndChildren" presStyleCnt="0"/>
      <dgm:spPr/>
    </dgm:pt>
    <dgm:pt modelId="{EB55B406-E2A1-EE4C-83E9-30DC686A4904}" type="pres">
      <dgm:prSet presAssocID="{327D7AD2-4284-8249-88F9-10F6FFC70DEF}" presName="parentTextBox" presStyleLbl="node1" presStyleIdx="0" presStyleCnt="5"/>
      <dgm:spPr/>
    </dgm:pt>
    <dgm:pt modelId="{54D48030-7834-7849-B875-148CDC109F30}" type="pres">
      <dgm:prSet presAssocID="{48C7A78E-7A8C-7844-9D7D-365BCC97CFED}" presName="sp" presStyleCnt="0"/>
      <dgm:spPr/>
    </dgm:pt>
    <dgm:pt modelId="{31EB2B16-AE57-7E43-8E54-7D1C35892F8E}" type="pres">
      <dgm:prSet presAssocID="{C90A0A5E-4623-4141-8233-D195AB7F2908}" presName="arrowAndChildren" presStyleCnt="0"/>
      <dgm:spPr/>
    </dgm:pt>
    <dgm:pt modelId="{A6D3B5F4-5728-A646-B391-71321DF70F9F}" type="pres">
      <dgm:prSet presAssocID="{C90A0A5E-4623-4141-8233-D195AB7F2908}" presName="parentTextArrow" presStyleLbl="node1" presStyleIdx="1" presStyleCnt="5"/>
      <dgm:spPr/>
    </dgm:pt>
    <dgm:pt modelId="{6875E9BC-2502-4B46-9CD6-8861BFE05203}" type="pres">
      <dgm:prSet presAssocID="{CF4FE2E9-0828-8B49-A9CF-A736BE73C971}" presName="sp" presStyleCnt="0"/>
      <dgm:spPr/>
    </dgm:pt>
    <dgm:pt modelId="{C97BAFF3-547C-F14C-9B97-A05EB3FFEBC9}" type="pres">
      <dgm:prSet presAssocID="{80F24EC3-5D6B-B042-A422-F05EEA5359B5}" presName="arrowAndChildren" presStyleCnt="0"/>
      <dgm:spPr/>
    </dgm:pt>
    <dgm:pt modelId="{A520648E-B82F-754A-BB8F-EC0009C988E5}" type="pres">
      <dgm:prSet presAssocID="{80F24EC3-5D6B-B042-A422-F05EEA5359B5}" presName="parentTextArrow" presStyleLbl="node1" presStyleIdx="2" presStyleCnt="5"/>
      <dgm:spPr/>
    </dgm:pt>
    <dgm:pt modelId="{BBFC6460-6CF7-B846-B645-F851C0E50551}" type="pres">
      <dgm:prSet presAssocID="{0A619B54-1EFE-A443-ADF2-DFDD377D5D08}" presName="sp" presStyleCnt="0"/>
      <dgm:spPr/>
    </dgm:pt>
    <dgm:pt modelId="{FDD0D23C-7824-4247-AF41-74C8260A52E6}" type="pres">
      <dgm:prSet presAssocID="{090AC0C7-09F4-3A41-B3C1-16B1767EA80C}" presName="arrowAndChildren" presStyleCnt="0"/>
      <dgm:spPr/>
    </dgm:pt>
    <dgm:pt modelId="{EF291D84-C98C-524C-A97E-9DB91C70770A}" type="pres">
      <dgm:prSet presAssocID="{090AC0C7-09F4-3A41-B3C1-16B1767EA80C}" presName="parentTextArrow" presStyleLbl="node1" presStyleIdx="3" presStyleCnt="5"/>
      <dgm:spPr/>
    </dgm:pt>
    <dgm:pt modelId="{A6B0080F-B0A7-3444-B423-53B1DE406DFE}" type="pres">
      <dgm:prSet presAssocID="{F70E2761-BC89-514E-902B-A9781A5C5EB0}" presName="sp" presStyleCnt="0"/>
      <dgm:spPr/>
    </dgm:pt>
    <dgm:pt modelId="{8870080B-80DB-B045-9E39-5E66F08D5CBD}" type="pres">
      <dgm:prSet presAssocID="{FF674FBB-F805-7A41-B455-7B4D1DA831A5}" presName="arrowAndChildren" presStyleCnt="0"/>
      <dgm:spPr/>
    </dgm:pt>
    <dgm:pt modelId="{358C4510-826A-DE43-B60F-B81FA47381BC}" type="pres">
      <dgm:prSet presAssocID="{FF674FBB-F805-7A41-B455-7B4D1DA831A5}" presName="parentTextArrow" presStyleLbl="node1" presStyleIdx="4" presStyleCnt="5"/>
      <dgm:spPr/>
    </dgm:pt>
  </dgm:ptLst>
  <dgm:cxnLst>
    <dgm:cxn modelId="{A839CC0B-0CD9-C243-8D86-F1D233155D0E}" type="presOf" srcId="{C90A0A5E-4623-4141-8233-D195AB7F2908}" destId="{A6D3B5F4-5728-A646-B391-71321DF70F9F}" srcOrd="0" destOrd="0" presId="urn:microsoft.com/office/officeart/2005/8/layout/process4"/>
    <dgm:cxn modelId="{ED2FB313-0043-5A41-A370-5B042C9BAAEB}" type="presOf" srcId="{DB1DF777-5E2D-CF46-91C4-3CAB8EA12DCA}" destId="{3160084F-13E8-5E44-8B11-802EE4F7B455}" srcOrd="0" destOrd="0" presId="urn:microsoft.com/office/officeart/2005/8/layout/process4"/>
    <dgm:cxn modelId="{C37DB246-23BB-404C-A3F5-96B21198936A}" type="presOf" srcId="{80F24EC3-5D6B-B042-A422-F05EEA5359B5}" destId="{A520648E-B82F-754A-BB8F-EC0009C988E5}" srcOrd="0" destOrd="0" presId="urn:microsoft.com/office/officeart/2005/8/layout/process4"/>
    <dgm:cxn modelId="{A77B0B59-55B2-8640-9B5D-3ABE25522C86}" srcId="{DB1DF777-5E2D-CF46-91C4-3CAB8EA12DCA}" destId="{C90A0A5E-4623-4141-8233-D195AB7F2908}" srcOrd="3" destOrd="0" parTransId="{E0CFE4FA-B889-BD4C-8B70-541DAD9D0B79}" sibTransId="{48C7A78E-7A8C-7844-9D7D-365BCC97CFED}"/>
    <dgm:cxn modelId="{D20478A2-D2F8-E044-A07A-0115B65792DA}" srcId="{DB1DF777-5E2D-CF46-91C4-3CAB8EA12DCA}" destId="{FF674FBB-F805-7A41-B455-7B4D1DA831A5}" srcOrd="0" destOrd="0" parTransId="{21635C77-BDCA-E24B-AD52-B8C9B462E561}" sibTransId="{F70E2761-BC89-514E-902B-A9781A5C5EB0}"/>
    <dgm:cxn modelId="{8322FFA7-662A-7740-85FD-64D42A322B18}" type="presOf" srcId="{327D7AD2-4284-8249-88F9-10F6FFC70DEF}" destId="{EB55B406-E2A1-EE4C-83E9-30DC686A4904}" srcOrd="0" destOrd="0" presId="urn:microsoft.com/office/officeart/2005/8/layout/process4"/>
    <dgm:cxn modelId="{AFA88FE3-8331-2549-9FC0-5B431377AB74}" type="presOf" srcId="{FF674FBB-F805-7A41-B455-7B4D1DA831A5}" destId="{358C4510-826A-DE43-B60F-B81FA47381BC}" srcOrd="0" destOrd="0" presId="urn:microsoft.com/office/officeart/2005/8/layout/process4"/>
    <dgm:cxn modelId="{A830EEE3-0EB6-5245-B005-FD5E794BF5D8}" type="presOf" srcId="{090AC0C7-09F4-3A41-B3C1-16B1767EA80C}" destId="{EF291D84-C98C-524C-A97E-9DB91C70770A}" srcOrd="0" destOrd="0" presId="urn:microsoft.com/office/officeart/2005/8/layout/process4"/>
    <dgm:cxn modelId="{D7C792E4-6F46-394C-8CD2-58EAEA5E7D61}" srcId="{DB1DF777-5E2D-CF46-91C4-3CAB8EA12DCA}" destId="{090AC0C7-09F4-3A41-B3C1-16B1767EA80C}" srcOrd="1" destOrd="0" parTransId="{6AB65DF4-333E-4446-87FC-5CEFF7718C01}" sibTransId="{0A619B54-1EFE-A443-ADF2-DFDD377D5D08}"/>
    <dgm:cxn modelId="{ECE4F3F7-7A54-D24C-902E-CC7BB1C0F809}" srcId="{DB1DF777-5E2D-CF46-91C4-3CAB8EA12DCA}" destId="{327D7AD2-4284-8249-88F9-10F6FFC70DEF}" srcOrd="4" destOrd="0" parTransId="{1AF9EA9A-209E-7241-978F-6B3D15FCF7AD}" sibTransId="{34348454-E2A8-0740-BB7C-04753D6300E7}"/>
    <dgm:cxn modelId="{7E030DF8-A3B4-A347-B621-BC561A9D3E59}" srcId="{DB1DF777-5E2D-CF46-91C4-3CAB8EA12DCA}" destId="{80F24EC3-5D6B-B042-A422-F05EEA5359B5}" srcOrd="2" destOrd="0" parTransId="{8EFD57EE-0350-7748-BEFC-0A8E220F32EB}" sibTransId="{CF4FE2E9-0828-8B49-A9CF-A736BE73C971}"/>
    <dgm:cxn modelId="{1DB93884-A6EF-1F43-98FA-243DFF9DCEC9}" type="presParOf" srcId="{3160084F-13E8-5E44-8B11-802EE4F7B455}" destId="{61918845-F588-DA4A-91C9-955497C7B1EB}" srcOrd="0" destOrd="0" presId="urn:microsoft.com/office/officeart/2005/8/layout/process4"/>
    <dgm:cxn modelId="{2B2EB049-B38E-0043-B59D-F8520ACE6DD7}" type="presParOf" srcId="{61918845-F588-DA4A-91C9-955497C7B1EB}" destId="{EB55B406-E2A1-EE4C-83E9-30DC686A4904}" srcOrd="0" destOrd="0" presId="urn:microsoft.com/office/officeart/2005/8/layout/process4"/>
    <dgm:cxn modelId="{2AD92E01-EB92-5847-B78B-EDB8740EC868}" type="presParOf" srcId="{3160084F-13E8-5E44-8B11-802EE4F7B455}" destId="{54D48030-7834-7849-B875-148CDC109F30}" srcOrd="1" destOrd="0" presId="urn:microsoft.com/office/officeart/2005/8/layout/process4"/>
    <dgm:cxn modelId="{C6B3F595-2979-0B4D-861E-2D3D95D81FDE}" type="presParOf" srcId="{3160084F-13E8-5E44-8B11-802EE4F7B455}" destId="{31EB2B16-AE57-7E43-8E54-7D1C35892F8E}" srcOrd="2" destOrd="0" presId="urn:microsoft.com/office/officeart/2005/8/layout/process4"/>
    <dgm:cxn modelId="{3336A803-2D8F-7C42-9C9B-E9E02EC102D5}" type="presParOf" srcId="{31EB2B16-AE57-7E43-8E54-7D1C35892F8E}" destId="{A6D3B5F4-5728-A646-B391-71321DF70F9F}" srcOrd="0" destOrd="0" presId="urn:microsoft.com/office/officeart/2005/8/layout/process4"/>
    <dgm:cxn modelId="{C93F85B2-43BE-4A49-B34D-AEC14E7138BD}" type="presParOf" srcId="{3160084F-13E8-5E44-8B11-802EE4F7B455}" destId="{6875E9BC-2502-4B46-9CD6-8861BFE05203}" srcOrd="3" destOrd="0" presId="urn:microsoft.com/office/officeart/2005/8/layout/process4"/>
    <dgm:cxn modelId="{B5D0877E-F1A6-4046-82D0-86ABA8CB89ED}" type="presParOf" srcId="{3160084F-13E8-5E44-8B11-802EE4F7B455}" destId="{C97BAFF3-547C-F14C-9B97-A05EB3FFEBC9}" srcOrd="4" destOrd="0" presId="urn:microsoft.com/office/officeart/2005/8/layout/process4"/>
    <dgm:cxn modelId="{865038DB-8C7E-984B-BB12-789C725ECB41}" type="presParOf" srcId="{C97BAFF3-547C-F14C-9B97-A05EB3FFEBC9}" destId="{A520648E-B82F-754A-BB8F-EC0009C988E5}" srcOrd="0" destOrd="0" presId="urn:microsoft.com/office/officeart/2005/8/layout/process4"/>
    <dgm:cxn modelId="{D5216DBA-2D87-9541-A2E9-99E40CEED984}" type="presParOf" srcId="{3160084F-13E8-5E44-8B11-802EE4F7B455}" destId="{BBFC6460-6CF7-B846-B645-F851C0E50551}" srcOrd="5" destOrd="0" presId="urn:microsoft.com/office/officeart/2005/8/layout/process4"/>
    <dgm:cxn modelId="{C34842E6-1294-7B42-9DEB-052782944149}" type="presParOf" srcId="{3160084F-13E8-5E44-8B11-802EE4F7B455}" destId="{FDD0D23C-7824-4247-AF41-74C8260A52E6}" srcOrd="6" destOrd="0" presId="urn:microsoft.com/office/officeart/2005/8/layout/process4"/>
    <dgm:cxn modelId="{5E62B601-07D5-6243-8A46-8D4AE8502089}" type="presParOf" srcId="{FDD0D23C-7824-4247-AF41-74C8260A52E6}" destId="{EF291D84-C98C-524C-A97E-9DB91C70770A}" srcOrd="0" destOrd="0" presId="urn:microsoft.com/office/officeart/2005/8/layout/process4"/>
    <dgm:cxn modelId="{F6DF68C0-0AC7-D24C-814D-058AA92646C6}" type="presParOf" srcId="{3160084F-13E8-5E44-8B11-802EE4F7B455}" destId="{A6B0080F-B0A7-3444-B423-53B1DE406DFE}" srcOrd="7" destOrd="0" presId="urn:microsoft.com/office/officeart/2005/8/layout/process4"/>
    <dgm:cxn modelId="{9FBB6974-D79C-224D-A942-0F2393B1EF8B}" type="presParOf" srcId="{3160084F-13E8-5E44-8B11-802EE4F7B455}" destId="{8870080B-80DB-B045-9E39-5E66F08D5CBD}" srcOrd="8" destOrd="0" presId="urn:microsoft.com/office/officeart/2005/8/layout/process4"/>
    <dgm:cxn modelId="{8EE29DF3-1399-C84B-8047-69B114F114DE}" type="presParOf" srcId="{8870080B-80DB-B045-9E39-5E66F08D5CBD}" destId="{358C4510-826A-DE43-B60F-B81FA47381B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879F5C7-B03D-F948-8C6A-C778E97602BE}" type="doc">
      <dgm:prSet loTypeId="urn:microsoft.com/office/officeart/2008/layout/LinedList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5B86D6F-96C8-1541-9A39-78CB44866F7C}">
      <dgm:prSet/>
      <dgm:spPr/>
      <dgm:t>
        <a:bodyPr/>
        <a:lstStyle/>
        <a:p>
          <a:r>
            <a:rPr lang="en-US" dirty="0"/>
            <a:t>1. Request arrives at the </a:t>
          </a:r>
          <a:r>
            <a:rPr lang="en-US" dirty="0" err="1"/>
            <a:t>AuthenticationFilter</a:t>
          </a:r>
          <a:endParaRPr lang="en-IN" dirty="0"/>
        </a:p>
      </dgm:t>
    </dgm:pt>
    <dgm:pt modelId="{FC49B2CA-D899-4C40-B358-B999B2313D6F}" type="parTrans" cxnId="{3A593350-453A-F948-A18C-10DDE6CE9792}">
      <dgm:prSet/>
      <dgm:spPr/>
      <dgm:t>
        <a:bodyPr/>
        <a:lstStyle/>
        <a:p>
          <a:endParaRPr lang="en-GB"/>
        </a:p>
      </dgm:t>
    </dgm:pt>
    <dgm:pt modelId="{ACAB0281-3531-D34F-B1E8-1E35C3D2596E}" type="sibTrans" cxnId="{3A593350-453A-F948-A18C-10DDE6CE9792}">
      <dgm:prSet/>
      <dgm:spPr/>
      <dgm:t>
        <a:bodyPr/>
        <a:lstStyle/>
        <a:p>
          <a:endParaRPr lang="en-GB"/>
        </a:p>
      </dgm:t>
    </dgm:pt>
    <dgm:pt modelId="{30E25005-9B7C-1441-AFBC-DB4FC23AAEE6}">
      <dgm:prSet/>
      <dgm:spPr/>
      <dgm:t>
        <a:bodyPr/>
        <a:lstStyle/>
        <a:p>
          <a:r>
            <a:rPr lang="en-US" dirty="0"/>
            <a:t>2. </a:t>
          </a:r>
          <a:r>
            <a:rPr lang="en-US" dirty="0" err="1"/>
            <a:t>AuthenticationFilter</a:t>
          </a:r>
          <a:r>
            <a:rPr lang="en-US" dirty="0"/>
            <a:t> creates an </a:t>
          </a:r>
          <a:r>
            <a:rPr lang="en-US" dirty="0" err="1"/>
            <a:t>AuthenticationToken</a:t>
          </a:r>
          <a:endParaRPr lang="en-IN" dirty="0"/>
        </a:p>
      </dgm:t>
    </dgm:pt>
    <dgm:pt modelId="{216CA400-ADD7-C84E-B0B7-984D302BB841}" type="parTrans" cxnId="{88827ADD-3BF4-DA4A-99A8-505FCAE10094}">
      <dgm:prSet/>
      <dgm:spPr/>
      <dgm:t>
        <a:bodyPr/>
        <a:lstStyle/>
        <a:p>
          <a:endParaRPr lang="en-GB"/>
        </a:p>
      </dgm:t>
    </dgm:pt>
    <dgm:pt modelId="{238646D9-DBA8-4945-9AFE-5927AC63A93F}" type="sibTrans" cxnId="{88827ADD-3BF4-DA4A-99A8-505FCAE10094}">
      <dgm:prSet/>
      <dgm:spPr/>
      <dgm:t>
        <a:bodyPr/>
        <a:lstStyle/>
        <a:p>
          <a:endParaRPr lang="en-GB"/>
        </a:p>
      </dgm:t>
    </dgm:pt>
    <dgm:pt modelId="{5BE150EB-5456-3843-A6F9-A8F98CF9EB1F}">
      <dgm:prSet/>
      <dgm:spPr/>
      <dgm:t>
        <a:bodyPr/>
        <a:lstStyle/>
        <a:p>
          <a:r>
            <a:rPr lang="en-US" dirty="0"/>
            <a:t>4. </a:t>
          </a:r>
          <a:r>
            <a:rPr lang="en-US" dirty="0" err="1"/>
            <a:t>AuthenticationToken</a:t>
          </a:r>
          <a:r>
            <a:rPr lang="en-US" dirty="0"/>
            <a:t> is then handed over to </a:t>
          </a:r>
          <a:r>
            <a:rPr lang="en-US" dirty="0" err="1"/>
            <a:t>AuthenticationManager</a:t>
          </a:r>
          <a:endParaRPr lang="en-IN" dirty="0"/>
        </a:p>
      </dgm:t>
    </dgm:pt>
    <dgm:pt modelId="{5DF083DE-10CC-7A46-9A03-75FDB7CFE1B5}" type="parTrans" cxnId="{FDBFF20D-86C4-D74F-BEB6-510A81CFA635}">
      <dgm:prSet/>
      <dgm:spPr/>
      <dgm:t>
        <a:bodyPr/>
        <a:lstStyle/>
        <a:p>
          <a:endParaRPr lang="en-GB"/>
        </a:p>
      </dgm:t>
    </dgm:pt>
    <dgm:pt modelId="{5C3F1D53-CFFB-7B44-929F-989E10E95A30}" type="sibTrans" cxnId="{FDBFF20D-86C4-D74F-BEB6-510A81CFA635}">
      <dgm:prSet/>
      <dgm:spPr/>
      <dgm:t>
        <a:bodyPr/>
        <a:lstStyle/>
        <a:p>
          <a:endParaRPr lang="en-GB"/>
        </a:p>
      </dgm:t>
    </dgm:pt>
    <dgm:pt modelId="{C2926756-4232-2944-9F1D-1202F670176D}">
      <dgm:prSet/>
      <dgm:spPr/>
      <dgm:t>
        <a:bodyPr/>
        <a:lstStyle/>
        <a:p>
          <a:r>
            <a:rPr lang="en-US" dirty="0"/>
            <a:t>5. </a:t>
          </a:r>
          <a:r>
            <a:rPr lang="en-US" dirty="0" err="1"/>
            <a:t>AuthenticationManager</a:t>
          </a:r>
          <a:r>
            <a:rPr lang="en-US" dirty="0"/>
            <a:t> selects the appropriate </a:t>
          </a:r>
          <a:r>
            <a:rPr lang="en-US" dirty="0" err="1"/>
            <a:t>AuthenticationProvider</a:t>
          </a:r>
          <a:endParaRPr lang="en-IN" dirty="0"/>
        </a:p>
      </dgm:t>
    </dgm:pt>
    <dgm:pt modelId="{5E58A305-DBAD-5C4A-A0C6-7F87D41FB580}" type="parTrans" cxnId="{CB54ACA7-E73E-FB40-BB7C-067EDCD30A79}">
      <dgm:prSet/>
      <dgm:spPr/>
      <dgm:t>
        <a:bodyPr/>
        <a:lstStyle/>
        <a:p>
          <a:endParaRPr lang="en-GB"/>
        </a:p>
      </dgm:t>
    </dgm:pt>
    <dgm:pt modelId="{DC4BF5F9-DEB1-D646-9725-E06BD5FD05DD}" type="sibTrans" cxnId="{CB54ACA7-E73E-FB40-BB7C-067EDCD30A79}">
      <dgm:prSet/>
      <dgm:spPr/>
      <dgm:t>
        <a:bodyPr/>
        <a:lstStyle/>
        <a:p>
          <a:endParaRPr lang="en-GB"/>
        </a:p>
      </dgm:t>
    </dgm:pt>
    <dgm:pt modelId="{79B5AC0D-50DF-C749-BFAF-FBDB52589EAB}">
      <dgm:prSet/>
      <dgm:spPr/>
      <dgm:t>
        <a:bodyPr/>
        <a:lstStyle/>
        <a:p>
          <a:r>
            <a:rPr lang="en-US" dirty="0"/>
            <a:t>6. </a:t>
          </a:r>
          <a:r>
            <a:rPr lang="en-US" dirty="0" err="1"/>
            <a:t>AuthenticationProvider</a:t>
          </a:r>
          <a:r>
            <a:rPr lang="en-US" dirty="0"/>
            <a:t> calls </a:t>
          </a:r>
          <a:r>
            <a:rPr lang="en-US" dirty="0" err="1"/>
            <a:t>UserDetailsService</a:t>
          </a:r>
          <a:r>
            <a:rPr lang="en-US" dirty="0"/>
            <a:t> to load </a:t>
          </a:r>
          <a:r>
            <a:rPr lang="en-US" dirty="0" err="1"/>
            <a:t>UserDetails</a:t>
          </a:r>
          <a:endParaRPr lang="en-IN" dirty="0"/>
        </a:p>
      </dgm:t>
    </dgm:pt>
    <dgm:pt modelId="{92405200-90C5-0744-A7CA-CEC9B93A458B}" type="parTrans" cxnId="{9F8085AD-BF44-5947-93A3-DC19333D980C}">
      <dgm:prSet/>
      <dgm:spPr/>
      <dgm:t>
        <a:bodyPr/>
        <a:lstStyle/>
        <a:p>
          <a:endParaRPr lang="en-GB"/>
        </a:p>
      </dgm:t>
    </dgm:pt>
    <dgm:pt modelId="{F6E4CF58-016D-4B40-9138-6FAF28B05B60}" type="sibTrans" cxnId="{9F8085AD-BF44-5947-93A3-DC19333D980C}">
      <dgm:prSet/>
      <dgm:spPr/>
      <dgm:t>
        <a:bodyPr/>
        <a:lstStyle/>
        <a:p>
          <a:endParaRPr lang="en-GB"/>
        </a:p>
      </dgm:t>
    </dgm:pt>
    <dgm:pt modelId="{F3E5547E-AD82-F740-AEC9-1496C6321251}">
      <dgm:prSet/>
      <dgm:spPr/>
      <dgm:t>
        <a:bodyPr/>
        <a:lstStyle/>
        <a:p>
          <a:r>
            <a:rPr lang="en-US" dirty="0"/>
            <a:t>7. </a:t>
          </a:r>
          <a:r>
            <a:rPr lang="en-US" dirty="0" err="1"/>
            <a:t>AuthenticationProvider</a:t>
          </a:r>
          <a:r>
            <a:rPr lang="en-US" dirty="0"/>
            <a:t> compares the credentials using </a:t>
          </a:r>
          <a:r>
            <a:rPr lang="en-US" dirty="0" err="1"/>
            <a:t>PasswordEncoder</a:t>
          </a:r>
          <a:endParaRPr lang="en-IN" dirty="0"/>
        </a:p>
      </dgm:t>
    </dgm:pt>
    <dgm:pt modelId="{2BE504AC-FCF7-4842-AD34-1D2E31C6F33E}" type="parTrans" cxnId="{92F2B5F0-EEEC-F843-957A-1AAB9987D5E4}">
      <dgm:prSet/>
      <dgm:spPr/>
      <dgm:t>
        <a:bodyPr/>
        <a:lstStyle/>
        <a:p>
          <a:endParaRPr lang="en-GB"/>
        </a:p>
      </dgm:t>
    </dgm:pt>
    <dgm:pt modelId="{4698DE1B-515C-F94D-90A4-BFF48F0F7B2C}" type="sibTrans" cxnId="{92F2B5F0-EEEC-F843-957A-1AAB9987D5E4}">
      <dgm:prSet/>
      <dgm:spPr/>
      <dgm:t>
        <a:bodyPr/>
        <a:lstStyle/>
        <a:p>
          <a:endParaRPr lang="en-GB"/>
        </a:p>
      </dgm:t>
    </dgm:pt>
    <dgm:pt modelId="{968F76D2-4C10-7F41-8FCB-43DC3C449AAB}">
      <dgm:prSet/>
      <dgm:spPr/>
      <dgm:t>
        <a:bodyPr/>
        <a:lstStyle/>
        <a:p>
          <a:r>
            <a:rPr lang="en-US" dirty="0"/>
            <a:t>9. </a:t>
          </a:r>
          <a:r>
            <a:rPr lang="en-US" dirty="0" err="1"/>
            <a:t>AuthenticationToken</a:t>
          </a:r>
          <a:r>
            <a:rPr lang="en-US" dirty="0"/>
            <a:t> is returned to the </a:t>
          </a:r>
          <a:r>
            <a:rPr lang="en-US" dirty="0" err="1"/>
            <a:t>AuthenticationFilter</a:t>
          </a:r>
          <a:endParaRPr lang="en-IN" dirty="0"/>
        </a:p>
      </dgm:t>
    </dgm:pt>
    <dgm:pt modelId="{C7CCF153-6BC3-AA4F-94F3-86F623F06533}" type="parTrans" cxnId="{04F70A0F-0543-FF4C-B4AE-0F8767A9290A}">
      <dgm:prSet/>
      <dgm:spPr/>
      <dgm:t>
        <a:bodyPr/>
        <a:lstStyle/>
        <a:p>
          <a:endParaRPr lang="en-GB"/>
        </a:p>
      </dgm:t>
    </dgm:pt>
    <dgm:pt modelId="{7F3B35C3-BB2A-3548-8BA2-C5B9F47913B5}" type="sibTrans" cxnId="{04F70A0F-0543-FF4C-B4AE-0F8767A9290A}">
      <dgm:prSet/>
      <dgm:spPr/>
      <dgm:t>
        <a:bodyPr/>
        <a:lstStyle/>
        <a:p>
          <a:endParaRPr lang="en-GB"/>
        </a:p>
      </dgm:t>
    </dgm:pt>
    <dgm:pt modelId="{C86F34CC-C5F9-0643-ABEA-C408ED774615}">
      <dgm:prSet/>
      <dgm:spPr/>
      <dgm:t>
        <a:bodyPr/>
        <a:lstStyle/>
        <a:p>
          <a:r>
            <a:rPr lang="en-US" dirty="0"/>
            <a:t>10. </a:t>
          </a:r>
          <a:r>
            <a:rPr lang="en-US" dirty="0" err="1"/>
            <a:t>AuthenticationFilter</a:t>
          </a:r>
          <a:r>
            <a:rPr lang="en-US" dirty="0"/>
            <a:t> sets the </a:t>
          </a:r>
          <a:r>
            <a:rPr lang="en-US" dirty="0" err="1"/>
            <a:t>AuthenticationToken</a:t>
          </a:r>
          <a:r>
            <a:rPr lang="en-US" dirty="0"/>
            <a:t> in the </a:t>
          </a:r>
          <a:r>
            <a:rPr lang="en-US" dirty="0" err="1"/>
            <a:t>SecurityContext</a:t>
          </a:r>
          <a:endParaRPr lang="en-IN" dirty="0"/>
        </a:p>
      </dgm:t>
    </dgm:pt>
    <dgm:pt modelId="{4423AD43-BA9A-014F-8084-443B0E935F1C}" type="parTrans" cxnId="{32796D57-7334-E845-A490-CDB93AB00A77}">
      <dgm:prSet/>
      <dgm:spPr/>
      <dgm:t>
        <a:bodyPr/>
        <a:lstStyle/>
        <a:p>
          <a:endParaRPr lang="en-GB"/>
        </a:p>
      </dgm:t>
    </dgm:pt>
    <dgm:pt modelId="{B07E696C-C867-A946-B50E-A51B76303451}" type="sibTrans" cxnId="{32796D57-7334-E845-A490-CDB93AB00A77}">
      <dgm:prSet/>
      <dgm:spPr/>
      <dgm:t>
        <a:bodyPr/>
        <a:lstStyle/>
        <a:p>
          <a:endParaRPr lang="en-GB"/>
        </a:p>
      </dgm:t>
    </dgm:pt>
    <dgm:pt modelId="{07EEC5BF-DC6C-8547-AC73-DF31266D1DD8}" type="pres">
      <dgm:prSet presAssocID="{E879F5C7-B03D-F948-8C6A-C778E97602BE}" presName="vert0" presStyleCnt="0">
        <dgm:presLayoutVars>
          <dgm:dir/>
          <dgm:animOne val="branch"/>
          <dgm:animLvl val="lvl"/>
        </dgm:presLayoutVars>
      </dgm:prSet>
      <dgm:spPr/>
    </dgm:pt>
    <dgm:pt modelId="{05C9F783-FBD0-7943-AD91-EE9980DEE4FF}" type="pres">
      <dgm:prSet presAssocID="{55B86D6F-96C8-1541-9A39-78CB44866F7C}" presName="thickLine" presStyleLbl="alignNode1" presStyleIdx="0" presStyleCnt="8"/>
      <dgm:spPr/>
    </dgm:pt>
    <dgm:pt modelId="{6EE0D802-691A-BE43-9EAD-35CE4E1D2339}" type="pres">
      <dgm:prSet presAssocID="{55B86D6F-96C8-1541-9A39-78CB44866F7C}" presName="horz1" presStyleCnt="0"/>
      <dgm:spPr/>
    </dgm:pt>
    <dgm:pt modelId="{394D9315-9EE7-8847-B4D8-779037D767B7}" type="pres">
      <dgm:prSet presAssocID="{55B86D6F-96C8-1541-9A39-78CB44866F7C}" presName="tx1" presStyleLbl="revTx" presStyleIdx="0" presStyleCnt="8"/>
      <dgm:spPr/>
    </dgm:pt>
    <dgm:pt modelId="{50598322-1F87-D049-9C7D-12DFB4459BCB}" type="pres">
      <dgm:prSet presAssocID="{55B86D6F-96C8-1541-9A39-78CB44866F7C}" presName="vert1" presStyleCnt="0"/>
      <dgm:spPr/>
    </dgm:pt>
    <dgm:pt modelId="{B4C77371-AADF-0945-9D2C-701E21DEB211}" type="pres">
      <dgm:prSet presAssocID="{30E25005-9B7C-1441-AFBC-DB4FC23AAEE6}" presName="thickLine" presStyleLbl="alignNode1" presStyleIdx="1" presStyleCnt="8"/>
      <dgm:spPr/>
    </dgm:pt>
    <dgm:pt modelId="{12307166-FA8C-6145-A771-5F5E437C839D}" type="pres">
      <dgm:prSet presAssocID="{30E25005-9B7C-1441-AFBC-DB4FC23AAEE6}" presName="horz1" presStyleCnt="0"/>
      <dgm:spPr/>
    </dgm:pt>
    <dgm:pt modelId="{2A448188-9B99-1B48-928D-C2293E5135F4}" type="pres">
      <dgm:prSet presAssocID="{30E25005-9B7C-1441-AFBC-DB4FC23AAEE6}" presName="tx1" presStyleLbl="revTx" presStyleIdx="1" presStyleCnt="8"/>
      <dgm:spPr/>
    </dgm:pt>
    <dgm:pt modelId="{69EDD8C5-C061-3847-AF2C-D380C9D0C027}" type="pres">
      <dgm:prSet presAssocID="{30E25005-9B7C-1441-AFBC-DB4FC23AAEE6}" presName="vert1" presStyleCnt="0"/>
      <dgm:spPr/>
    </dgm:pt>
    <dgm:pt modelId="{17986BC5-FE0A-F34D-B03A-8D9E9016AF2B}" type="pres">
      <dgm:prSet presAssocID="{5BE150EB-5456-3843-A6F9-A8F98CF9EB1F}" presName="thickLine" presStyleLbl="alignNode1" presStyleIdx="2" presStyleCnt="8"/>
      <dgm:spPr/>
    </dgm:pt>
    <dgm:pt modelId="{7529180A-9711-794B-83E0-17395AAD6B9D}" type="pres">
      <dgm:prSet presAssocID="{5BE150EB-5456-3843-A6F9-A8F98CF9EB1F}" presName="horz1" presStyleCnt="0"/>
      <dgm:spPr/>
    </dgm:pt>
    <dgm:pt modelId="{42038757-F688-EA4F-9533-EE17B2C978DC}" type="pres">
      <dgm:prSet presAssocID="{5BE150EB-5456-3843-A6F9-A8F98CF9EB1F}" presName="tx1" presStyleLbl="revTx" presStyleIdx="2" presStyleCnt="8"/>
      <dgm:spPr/>
    </dgm:pt>
    <dgm:pt modelId="{FAF25771-6DA7-C749-B6EB-49C17756C8D0}" type="pres">
      <dgm:prSet presAssocID="{5BE150EB-5456-3843-A6F9-A8F98CF9EB1F}" presName="vert1" presStyleCnt="0"/>
      <dgm:spPr/>
    </dgm:pt>
    <dgm:pt modelId="{C3F5A2B7-D507-A042-BCA0-B04F578F14BD}" type="pres">
      <dgm:prSet presAssocID="{C2926756-4232-2944-9F1D-1202F670176D}" presName="thickLine" presStyleLbl="alignNode1" presStyleIdx="3" presStyleCnt="8"/>
      <dgm:spPr/>
    </dgm:pt>
    <dgm:pt modelId="{9D18FB3C-3595-1D49-B271-F0C6BF654164}" type="pres">
      <dgm:prSet presAssocID="{C2926756-4232-2944-9F1D-1202F670176D}" presName="horz1" presStyleCnt="0"/>
      <dgm:spPr/>
    </dgm:pt>
    <dgm:pt modelId="{665D1A06-288E-5C4B-B38C-FAD4F1F92AA5}" type="pres">
      <dgm:prSet presAssocID="{C2926756-4232-2944-9F1D-1202F670176D}" presName="tx1" presStyleLbl="revTx" presStyleIdx="3" presStyleCnt="8"/>
      <dgm:spPr/>
    </dgm:pt>
    <dgm:pt modelId="{87426307-72D5-774F-83B4-1FB336CBF726}" type="pres">
      <dgm:prSet presAssocID="{C2926756-4232-2944-9F1D-1202F670176D}" presName="vert1" presStyleCnt="0"/>
      <dgm:spPr/>
    </dgm:pt>
    <dgm:pt modelId="{FD16C3E8-894C-EF48-B894-83AE2066C444}" type="pres">
      <dgm:prSet presAssocID="{79B5AC0D-50DF-C749-BFAF-FBDB52589EAB}" presName="thickLine" presStyleLbl="alignNode1" presStyleIdx="4" presStyleCnt="8"/>
      <dgm:spPr/>
    </dgm:pt>
    <dgm:pt modelId="{AA2F6BDE-26CB-A744-AE4D-D1AA646E1D61}" type="pres">
      <dgm:prSet presAssocID="{79B5AC0D-50DF-C749-BFAF-FBDB52589EAB}" presName="horz1" presStyleCnt="0"/>
      <dgm:spPr/>
    </dgm:pt>
    <dgm:pt modelId="{DB8A3212-D22F-8944-8A47-4533111C1515}" type="pres">
      <dgm:prSet presAssocID="{79B5AC0D-50DF-C749-BFAF-FBDB52589EAB}" presName="tx1" presStyleLbl="revTx" presStyleIdx="4" presStyleCnt="8"/>
      <dgm:spPr/>
    </dgm:pt>
    <dgm:pt modelId="{CAF8232A-3A82-8D49-B8F9-B3FC0496A5A2}" type="pres">
      <dgm:prSet presAssocID="{79B5AC0D-50DF-C749-BFAF-FBDB52589EAB}" presName="vert1" presStyleCnt="0"/>
      <dgm:spPr/>
    </dgm:pt>
    <dgm:pt modelId="{AD1A3F38-22D8-C343-91E4-ECB91E029AC5}" type="pres">
      <dgm:prSet presAssocID="{F3E5547E-AD82-F740-AEC9-1496C6321251}" presName="thickLine" presStyleLbl="alignNode1" presStyleIdx="5" presStyleCnt="8"/>
      <dgm:spPr/>
    </dgm:pt>
    <dgm:pt modelId="{5A1CAD73-4539-3044-9EBF-DE6D505D85D6}" type="pres">
      <dgm:prSet presAssocID="{F3E5547E-AD82-F740-AEC9-1496C6321251}" presName="horz1" presStyleCnt="0"/>
      <dgm:spPr/>
    </dgm:pt>
    <dgm:pt modelId="{192CA8E5-E31C-B047-AB5B-5B289DE3B03A}" type="pres">
      <dgm:prSet presAssocID="{F3E5547E-AD82-F740-AEC9-1496C6321251}" presName="tx1" presStyleLbl="revTx" presStyleIdx="5" presStyleCnt="8"/>
      <dgm:spPr/>
    </dgm:pt>
    <dgm:pt modelId="{EEB6882C-346A-2742-BF5B-5928BA43005C}" type="pres">
      <dgm:prSet presAssocID="{F3E5547E-AD82-F740-AEC9-1496C6321251}" presName="vert1" presStyleCnt="0"/>
      <dgm:spPr/>
    </dgm:pt>
    <dgm:pt modelId="{537E84F6-16FD-6242-ABF4-2D0511712043}" type="pres">
      <dgm:prSet presAssocID="{968F76D2-4C10-7F41-8FCB-43DC3C449AAB}" presName="thickLine" presStyleLbl="alignNode1" presStyleIdx="6" presStyleCnt="8"/>
      <dgm:spPr/>
    </dgm:pt>
    <dgm:pt modelId="{98B5F609-D82D-4249-8F50-7AFE0F6D9237}" type="pres">
      <dgm:prSet presAssocID="{968F76D2-4C10-7F41-8FCB-43DC3C449AAB}" presName="horz1" presStyleCnt="0"/>
      <dgm:spPr/>
    </dgm:pt>
    <dgm:pt modelId="{677DE988-7AC9-EB49-86AC-A9FE7030900B}" type="pres">
      <dgm:prSet presAssocID="{968F76D2-4C10-7F41-8FCB-43DC3C449AAB}" presName="tx1" presStyleLbl="revTx" presStyleIdx="6" presStyleCnt="8"/>
      <dgm:spPr/>
    </dgm:pt>
    <dgm:pt modelId="{19FE7DDB-F407-C64A-8F5F-E2A33CFEBD1E}" type="pres">
      <dgm:prSet presAssocID="{968F76D2-4C10-7F41-8FCB-43DC3C449AAB}" presName="vert1" presStyleCnt="0"/>
      <dgm:spPr/>
    </dgm:pt>
    <dgm:pt modelId="{0E2BD839-C964-E744-BD9D-A917F9F8E449}" type="pres">
      <dgm:prSet presAssocID="{C86F34CC-C5F9-0643-ABEA-C408ED774615}" presName="thickLine" presStyleLbl="alignNode1" presStyleIdx="7" presStyleCnt="8"/>
      <dgm:spPr/>
    </dgm:pt>
    <dgm:pt modelId="{79FAFA2D-8C4C-A649-AC4A-9E027E65F546}" type="pres">
      <dgm:prSet presAssocID="{C86F34CC-C5F9-0643-ABEA-C408ED774615}" presName="horz1" presStyleCnt="0"/>
      <dgm:spPr/>
    </dgm:pt>
    <dgm:pt modelId="{33ED1BAD-5962-3F41-92EC-6DB610C30840}" type="pres">
      <dgm:prSet presAssocID="{C86F34CC-C5F9-0643-ABEA-C408ED774615}" presName="tx1" presStyleLbl="revTx" presStyleIdx="7" presStyleCnt="8"/>
      <dgm:spPr/>
    </dgm:pt>
    <dgm:pt modelId="{6EE309B9-16DC-6A4F-B9D9-6C719FF75623}" type="pres">
      <dgm:prSet presAssocID="{C86F34CC-C5F9-0643-ABEA-C408ED774615}" presName="vert1" presStyleCnt="0"/>
      <dgm:spPr/>
    </dgm:pt>
  </dgm:ptLst>
  <dgm:cxnLst>
    <dgm:cxn modelId="{FDBFF20D-86C4-D74F-BEB6-510A81CFA635}" srcId="{E879F5C7-B03D-F948-8C6A-C778E97602BE}" destId="{5BE150EB-5456-3843-A6F9-A8F98CF9EB1F}" srcOrd="2" destOrd="0" parTransId="{5DF083DE-10CC-7A46-9A03-75FDB7CFE1B5}" sibTransId="{5C3F1D53-CFFB-7B44-929F-989E10E95A30}"/>
    <dgm:cxn modelId="{04F70A0F-0543-FF4C-B4AE-0F8767A9290A}" srcId="{E879F5C7-B03D-F948-8C6A-C778E97602BE}" destId="{968F76D2-4C10-7F41-8FCB-43DC3C449AAB}" srcOrd="6" destOrd="0" parTransId="{C7CCF153-6BC3-AA4F-94F3-86F623F06533}" sibTransId="{7F3B35C3-BB2A-3548-8BA2-C5B9F47913B5}"/>
    <dgm:cxn modelId="{5C473E13-FDFF-4A43-AEE3-381CF698A4A9}" type="presOf" srcId="{E879F5C7-B03D-F948-8C6A-C778E97602BE}" destId="{07EEC5BF-DC6C-8547-AC73-DF31266D1DD8}" srcOrd="0" destOrd="0" presId="urn:microsoft.com/office/officeart/2008/layout/LinedList"/>
    <dgm:cxn modelId="{8DFA9841-82B0-334B-B1B6-1FBE60402384}" type="presOf" srcId="{5BE150EB-5456-3843-A6F9-A8F98CF9EB1F}" destId="{42038757-F688-EA4F-9533-EE17B2C978DC}" srcOrd="0" destOrd="0" presId="urn:microsoft.com/office/officeart/2008/layout/LinedList"/>
    <dgm:cxn modelId="{3A593350-453A-F948-A18C-10DDE6CE9792}" srcId="{E879F5C7-B03D-F948-8C6A-C778E97602BE}" destId="{55B86D6F-96C8-1541-9A39-78CB44866F7C}" srcOrd="0" destOrd="0" parTransId="{FC49B2CA-D899-4C40-B358-B999B2313D6F}" sibTransId="{ACAB0281-3531-D34F-B1E8-1E35C3D2596E}"/>
    <dgm:cxn modelId="{D9483753-46F0-E741-B7F2-56B514E852A5}" type="presOf" srcId="{968F76D2-4C10-7F41-8FCB-43DC3C449AAB}" destId="{677DE988-7AC9-EB49-86AC-A9FE7030900B}" srcOrd="0" destOrd="0" presId="urn:microsoft.com/office/officeart/2008/layout/LinedList"/>
    <dgm:cxn modelId="{F97C3E53-8EBA-4C41-8A7E-3664C359D789}" type="presOf" srcId="{F3E5547E-AD82-F740-AEC9-1496C6321251}" destId="{192CA8E5-E31C-B047-AB5B-5B289DE3B03A}" srcOrd="0" destOrd="0" presId="urn:microsoft.com/office/officeart/2008/layout/LinedList"/>
    <dgm:cxn modelId="{32796D57-7334-E845-A490-CDB93AB00A77}" srcId="{E879F5C7-B03D-F948-8C6A-C778E97602BE}" destId="{C86F34CC-C5F9-0643-ABEA-C408ED774615}" srcOrd="7" destOrd="0" parTransId="{4423AD43-BA9A-014F-8084-443B0E935F1C}" sibTransId="{B07E696C-C867-A946-B50E-A51B76303451}"/>
    <dgm:cxn modelId="{DEA1317E-4DFB-034F-B21A-6195D3B5F87F}" type="presOf" srcId="{C86F34CC-C5F9-0643-ABEA-C408ED774615}" destId="{33ED1BAD-5962-3F41-92EC-6DB610C30840}" srcOrd="0" destOrd="0" presId="urn:microsoft.com/office/officeart/2008/layout/LinedList"/>
    <dgm:cxn modelId="{CB54ACA7-E73E-FB40-BB7C-067EDCD30A79}" srcId="{E879F5C7-B03D-F948-8C6A-C778E97602BE}" destId="{C2926756-4232-2944-9F1D-1202F670176D}" srcOrd="3" destOrd="0" parTransId="{5E58A305-DBAD-5C4A-A0C6-7F87D41FB580}" sibTransId="{DC4BF5F9-DEB1-D646-9725-E06BD5FD05DD}"/>
    <dgm:cxn modelId="{9F8085AD-BF44-5947-93A3-DC19333D980C}" srcId="{E879F5C7-B03D-F948-8C6A-C778E97602BE}" destId="{79B5AC0D-50DF-C749-BFAF-FBDB52589EAB}" srcOrd="4" destOrd="0" parTransId="{92405200-90C5-0744-A7CA-CEC9B93A458B}" sibTransId="{F6E4CF58-016D-4B40-9138-6FAF28B05B60}"/>
    <dgm:cxn modelId="{B256A5CE-7E7D-A749-BFFA-E5C27383A9A8}" type="presOf" srcId="{C2926756-4232-2944-9F1D-1202F670176D}" destId="{665D1A06-288E-5C4B-B38C-FAD4F1F92AA5}" srcOrd="0" destOrd="0" presId="urn:microsoft.com/office/officeart/2008/layout/LinedList"/>
    <dgm:cxn modelId="{ED069EDA-A307-E24C-9247-C1BF73D38C6C}" type="presOf" srcId="{79B5AC0D-50DF-C749-BFAF-FBDB52589EAB}" destId="{DB8A3212-D22F-8944-8A47-4533111C1515}" srcOrd="0" destOrd="0" presId="urn:microsoft.com/office/officeart/2008/layout/LinedList"/>
    <dgm:cxn modelId="{88827ADD-3BF4-DA4A-99A8-505FCAE10094}" srcId="{E879F5C7-B03D-F948-8C6A-C778E97602BE}" destId="{30E25005-9B7C-1441-AFBC-DB4FC23AAEE6}" srcOrd="1" destOrd="0" parTransId="{216CA400-ADD7-C84E-B0B7-984D302BB841}" sibTransId="{238646D9-DBA8-4945-9AFE-5927AC63A93F}"/>
    <dgm:cxn modelId="{92F2B5F0-EEEC-F843-957A-1AAB9987D5E4}" srcId="{E879F5C7-B03D-F948-8C6A-C778E97602BE}" destId="{F3E5547E-AD82-F740-AEC9-1496C6321251}" srcOrd="5" destOrd="0" parTransId="{2BE504AC-FCF7-4842-AD34-1D2E31C6F33E}" sibTransId="{4698DE1B-515C-F94D-90A4-BFF48F0F7B2C}"/>
    <dgm:cxn modelId="{469553F1-EC40-824B-AF7B-6DC40BB89E43}" type="presOf" srcId="{30E25005-9B7C-1441-AFBC-DB4FC23AAEE6}" destId="{2A448188-9B99-1B48-928D-C2293E5135F4}" srcOrd="0" destOrd="0" presId="urn:microsoft.com/office/officeart/2008/layout/LinedList"/>
    <dgm:cxn modelId="{FB1E42FF-F7BF-774B-BCFA-AEF128F96681}" type="presOf" srcId="{55B86D6F-96C8-1541-9A39-78CB44866F7C}" destId="{394D9315-9EE7-8847-B4D8-779037D767B7}" srcOrd="0" destOrd="0" presId="urn:microsoft.com/office/officeart/2008/layout/LinedList"/>
    <dgm:cxn modelId="{8EF38777-D61E-3C4B-85DC-E3302A8A2CE8}" type="presParOf" srcId="{07EEC5BF-DC6C-8547-AC73-DF31266D1DD8}" destId="{05C9F783-FBD0-7943-AD91-EE9980DEE4FF}" srcOrd="0" destOrd="0" presId="urn:microsoft.com/office/officeart/2008/layout/LinedList"/>
    <dgm:cxn modelId="{6FB685F2-554B-004A-882C-56B9AAFA6E13}" type="presParOf" srcId="{07EEC5BF-DC6C-8547-AC73-DF31266D1DD8}" destId="{6EE0D802-691A-BE43-9EAD-35CE4E1D2339}" srcOrd="1" destOrd="0" presId="urn:microsoft.com/office/officeart/2008/layout/LinedList"/>
    <dgm:cxn modelId="{F399756C-3BB0-A648-862B-FACC456D207C}" type="presParOf" srcId="{6EE0D802-691A-BE43-9EAD-35CE4E1D2339}" destId="{394D9315-9EE7-8847-B4D8-779037D767B7}" srcOrd="0" destOrd="0" presId="urn:microsoft.com/office/officeart/2008/layout/LinedList"/>
    <dgm:cxn modelId="{582531BE-79EC-C145-B7CA-F782E6A2D173}" type="presParOf" srcId="{6EE0D802-691A-BE43-9EAD-35CE4E1D2339}" destId="{50598322-1F87-D049-9C7D-12DFB4459BCB}" srcOrd="1" destOrd="0" presId="urn:microsoft.com/office/officeart/2008/layout/LinedList"/>
    <dgm:cxn modelId="{27D850DF-F72B-FA4E-8445-EAF11E6E8096}" type="presParOf" srcId="{07EEC5BF-DC6C-8547-AC73-DF31266D1DD8}" destId="{B4C77371-AADF-0945-9D2C-701E21DEB211}" srcOrd="2" destOrd="0" presId="urn:microsoft.com/office/officeart/2008/layout/LinedList"/>
    <dgm:cxn modelId="{3B9DD821-8929-C44B-84D3-FE88D3F06E90}" type="presParOf" srcId="{07EEC5BF-DC6C-8547-AC73-DF31266D1DD8}" destId="{12307166-FA8C-6145-A771-5F5E437C839D}" srcOrd="3" destOrd="0" presId="urn:microsoft.com/office/officeart/2008/layout/LinedList"/>
    <dgm:cxn modelId="{3324CD62-3CB4-E242-810D-6F49F825CC7A}" type="presParOf" srcId="{12307166-FA8C-6145-A771-5F5E437C839D}" destId="{2A448188-9B99-1B48-928D-C2293E5135F4}" srcOrd="0" destOrd="0" presId="urn:microsoft.com/office/officeart/2008/layout/LinedList"/>
    <dgm:cxn modelId="{8C3192D8-CD2F-074A-936F-9B57B3716C9E}" type="presParOf" srcId="{12307166-FA8C-6145-A771-5F5E437C839D}" destId="{69EDD8C5-C061-3847-AF2C-D380C9D0C027}" srcOrd="1" destOrd="0" presId="urn:microsoft.com/office/officeart/2008/layout/LinedList"/>
    <dgm:cxn modelId="{2CC2C097-C5D3-8848-9131-0BAE8665E845}" type="presParOf" srcId="{07EEC5BF-DC6C-8547-AC73-DF31266D1DD8}" destId="{17986BC5-FE0A-F34D-B03A-8D9E9016AF2B}" srcOrd="4" destOrd="0" presId="urn:microsoft.com/office/officeart/2008/layout/LinedList"/>
    <dgm:cxn modelId="{8A15C7BD-6652-6640-AEF6-78DBA463C49E}" type="presParOf" srcId="{07EEC5BF-DC6C-8547-AC73-DF31266D1DD8}" destId="{7529180A-9711-794B-83E0-17395AAD6B9D}" srcOrd="5" destOrd="0" presId="urn:microsoft.com/office/officeart/2008/layout/LinedList"/>
    <dgm:cxn modelId="{9B06E60B-D90F-BF4F-841D-DF6BC756CCC5}" type="presParOf" srcId="{7529180A-9711-794B-83E0-17395AAD6B9D}" destId="{42038757-F688-EA4F-9533-EE17B2C978DC}" srcOrd="0" destOrd="0" presId="urn:microsoft.com/office/officeart/2008/layout/LinedList"/>
    <dgm:cxn modelId="{33A61B1F-92C5-AB42-B2BA-CBCD70A0E6BE}" type="presParOf" srcId="{7529180A-9711-794B-83E0-17395AAD6B9D}" destId="{FAF25771-6DA7-C749-B6EB-49C17756C8D0}" srcOrd="1" destOrd="0" presId="urn:microsoft.com/office/officeart/2008/layout/LinedList"/>
    <dgm:cxn modelId="{F6F40AA4-E900-6043-95FC-AEBAC9B600E2}" type="presParOf" srcId="{07EEC5BF-DC6C-8547-AC73-DF31266D1DD8}" destId="{C3F5A2B7-D507-A042-BCA0-B04F578F14BD}" srcOrd="6" destOrd="0" presId="urn:microsoft.com/office/officeart/2008/layout/LinedList"/>
    <dgm:cxn modelId="{9EE248F8-EE4F-5441-95E3-7B6F747310E7}" type="presParOf" srcId="{07EEC5BF-DC6C-8547-AC73-DF31266D1DD8}" destId="{9D18FB3C-3595-1D49-B271-F0C6BF654164}" srcOrd="7" destOrd="0" presId="urn:microsoft.com/office/officeart/2008/layout/LinedList"/>
    <dgm:cxn modelId="{2DC277BD-4C12-854A-BFEC-EE0CC75FF43A}" type="presParOf" srcId="{9D18FB3C-3595-1D49-B271-F0C6BF654164}" destId="{665D1A06-288E-5C4B-B38C-FAD4F1F92AA5}" srcOrd="0" destOrd="0" presId="urn:microsoft.com/office/officeart/2008/layout/LinedList"/>
    <dgm:cxn modelId="{E9952ACD-59F7-244F-AC54-DB68B6301F69}" type="presParOf" srcId="{9D18FB3C-3595-1D49-B271-F0C6BF654164}" destId="{87426307-72D5-774F-83B4-1FB336CBF726}" srcOrd="1" destOrd="0" presId="urn:microsoft.com/office/officeart/2008/layout/LinedList"/>
    <dgm:cxn modelId="{5FE15F26-6AB8-6145-8C37-26EDE9A24327}" type="presParOf" srcId="{07EEC5BF-DC6C-8547-AC73-DF31266D1DD8}" destId="{FD16C3E8-894C-EF48-B894-83AE2066C444}" srcOrd="8" destOrd="0" presId="urn:microsoft.com/office/officeart/2008/layout/LinedList"/>
    <dgm:cxn modelId="{F2E239EA-74A8-B844-A98C-CFB8430EF64B}" type="presParOf" srcId="{07EEC5BF-DC6C-8547-AC73-DF31266D1DD8}" destId="{AA2F6BDE-26CB-A744-AE4D-D1AA646E1D61}" srcOrd="9" destOrd="0" presId="urn:microsoft.com/office/officeart/2008/layout/LinedList"/>
    <dgm:cxn modelId="{F0892F5A-9F18-DE48-812C-4388AC9B77B9}" type="presParOf" srcId="{AA2F6BDE-26CB-A744-AE4D-D1AA646E1D61}" destId="{DB8A3212-D22F-8944-8A47-4533111C1515}" srcOrd="0" destOrd="0" presId="urn:microsoft.com/office/officeart/2008/layout/LinedList"/>
    <dgm:cxn modelId="{DE7243EB-D860-5E48-83B4-F0D7F1F658C7}" type="presParOf" srcId="{AA2F6BDE-26CB-A744-AE4D-D1AA646E1D61}" destId="{CAF8232A-3A82-8D49-B8F9-B3FC0496A5A2}" srcOrd="1" destOrd="0" presId="urn:microsoft.com/office/officeart/2008/layout/LinedList"/>
    <dgm:cxn modelId="{6E22459A-BC29-8541-9FAB-53EC4D956FEB}" type="presParOf" srcId="{07EEC5BF-DC6C-8547-AC73-DF31266D1DD8}" destId="{AD1A3F38-22D8-C343-91E4-ECB91E029AC5}" srcOrd="10" destOrd="0" presId="urn:microsoft.com/office/officeart/2008/layout/LinedList"/>
    <dgm:cxn modelId="{37C5CE84-BA27-014F-9F1A-6B22AB796F8F}" type="presParOf" srcId="{07EEC5BF-DC6C-8547-AC73-DF31266D1DD8}" destId="{5A1CAD73-4539-3044-9EBF-DE6D505D85D6}" srcOrd="11" destOrd="0" presId="urn:microsoft.com/office/officeart/2008/layout/LinedList"/>
    <dgm:cxn modelId="{C6583D66-FB2D-1341-B483-862644C8CCDA}" type="presParOf" srcId="{5A1CAD73-4539-3044-9EBF-DE6D505D85D6}" destId="{192CA8E5-E31C-B047-AB5B-5B289DE3B03A}" srcOrd="0" destOrd="0" presId="urn:microsoft.com/office/officeart/2008/layout/LinedList"/>
    <dgm:cxn modelId="{EA0BB8EC-F7F8-8444-BC1C-8353F67EFBD3}" type="presParOf" srcId="{5A1CAD73-4539-3044-9EBF-DE6D505D85D6}" destId="{EEB6882C-346A-2742-BF5B-5928BA43005C}" srcOrd="1" destOrd="0" presId="urn:microsoft.com/office/officeart/2008/layout/LinedList"/>
    <dgm:cxn modelId="{F36B2048-D4E6-774E-9530-C68DD6DD4389}" type="presParOf" srcId="{07EEC5BF-DC6C-8547-AC73-DF31266D1DD8}" destId="{537E84F6-16FD-6242-ABF4-2D0511712043}" srcOrd="12" destOrd="0" presId="urn:microsoft.com/office/officeart/2008/layout/LinedList"/>
    <dgm:cxn modelId="{77A6CB92-2536-8545-B45C-2542B61CA671}" type="presParOf" srcId="{07EEC5BF-DC6C-8547-AC73-DF31266D1DD8}" destId="{98B5F609-D82D-4249-8F50-7AFE0F6D9237}" srcOrd="13" destOrd="0" presId="urn:microsoft.com/office/officeart/2008/layout/LinedList"/>
    <dgm:cxn modelId="{CBC67693-16A3-8448-8F08-21A1B58BC511}" type="presParOf" srcId="{98B5F609-D82D-4249-8F50-7AFE0F6D9237}" destId="{677DE988-7AC9-EB49-86AC-A9FE7030900B}" srcOrd="0" destOrd="0" presId="urn:microsoft.com/office/officeart/2008/layout/LinedList"/>
    <dgm:cxn modelId="{0F87C66C-8B85-0642-A2E1-E86A343CA0B3}" type="presParOf" srcId="{98B5F609-D82D-4249-8F50-7AFE0F6D9237}" destId="{19FE7DDB-F407-C64A-8F5F-E2A33CFEBD1E}" srcOrd="1" destOrd="0" presId="urn:microsoft.com/office/officeart/2008/layout/LinedList"/>
    <dgm:cxn modelId="{58730764-46DB-3746-95EE-FB3C4345FE96}" type="presParOf" srcId="{07EEC5BF-DC6C-8547-AC73-DF31266D1DD8}" destId="{0E2BD839-C964-E744-BD9D-A917F9F8E449}" srcOrd="14" destOrd="0" presId="urn:microsoft.com/office/officeart/2008/layout/LinedList"/>
    <dgm:cxn modelId="{F8551107-FF6A-8A4A-AB64-DE81B8A1AFBA}" type="presParOf" srcId="{07EEC5BF-DC6C-8547-AC73-DF31266D1DD8}" destId="{79FAFA2D-8C4C-A649-AC4A-9E027E65F546}" srcOrd="15" destOrd="0" presId="urn:microsoft.com/office/officeart/2008/layout/LinedList"/>
    <dgm:cxn modelId="{10745D5E-7334-4140-9CD8-3A2ED07E1DA9}" type="presParOf" srcId="{79FAFA2D-8C4C-A649-AC4A-9E027E65F546}" destId="{33ED1BAD-5962-3F41-92EC-6DB610C30840}" srcOrd="0" destOrd="0" presId="urn:microsoft.com/office/officeart/2008/layout/LinedList"/>
    <dgm:cxn modelId="{61EAC077-136D-284C-A056-54A0D849FAB8}" type="presParOf" srcId="{79FAFA2D-8C4C-A649-AC4A-9E027E65F546}" destId="{6EE309B9-16DC-6A4F-B9D9-6C719FF75623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4765DD9-C9BB-3B48-86B4-1F75D455B369}" type="doc">
      <dgm:prSet loTypeId="urn:microsoft.com/office/officeart/2005/8/layout/hList6" loCatId="process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GB"/>
        </a:p>
      </dgm:t>
    </dgm:pt>
    <dgm:pt modelId="{9EBCB732-5343-324C-A624-F3BA6A0DB814}">
      <dgm:prSet/>
      <dgm:spPr/>
      <dgm:t>
        <a:bodyPr/>
        <a:lstStyle/>
        <a:p>
          <a:r>
            <a:rPr lang="en-US" b="0" dirty="0"/>
            <a:t>Basic Authentication with Custom </a:t>
          </a:r>
          <a:r>
            <a:rPr lang="en-US" b="0" dirty="0" err="1"/>
            <a:t>UserDetails</a:t>
          </a:r>
          <a:endParaRPr lang="en-IN" dirty="0"/>
        </a:p>
      </dgm:t>
    </dgm:pt>
    <dgm:pt modelId="{69DE9A28-4603-AA42-8ECA-D9EAF70D43F1}" type="parTrans" cxnId="{32205E32-39B7-DC4A-B29B-71D410973185}">
      <dgm:prSet/>
      <dgm:spPr/>
      <dgm:t>
        <a:bodyPr/>
        <a:lstStyle/>
        <a:p>
          <a:endParaRPr lang="en-GB"/>
        </a:p>
      </dgm:t>
    </dgm:pt>
    <dgm:pt modelId="{41487D11-F250-934E-BAC8-DEBFF64463AA}" type="sibTrans" cxnId="{32205E32-39B7-DC4A-B29B-71D410973185}">
      <dgm:prSet/>
      <dgm:spPr/>
      <dgm:t>
        <a:bodyPr/>
        <a:lstStyle/>
        <a:p>
          <a:endParaRPr lang="en-GB"/>
        </a:p>
      </dgm:t>
    </dgm:pt>
    <dgm:pt modelId="{80CAF9B2-A2E8-8246-8594-AD3AA3C52D8B}">
      <dgm:prSet/>
      <dgm:spPr/>
      <dgm:t>
        <a:bodyPr/>
        <a:lstStyle/>
        <a:p>
          <a:r>
            <a:rPr lang="en-US" b="0"/>
            <a:t>Fully customized Authentication Strategy</a:t>
          </a:r>
          <a:endParaRPr lang="en-IN"/>
        </a:p>
      </dgm:t>
    </dgm:pt>
    <dgm:pt modelId="{4F6197EB-50AE-334E-B816-DB35606244A5}" type="parTrans" cxnId="{7B10DC9C-E010-5147-8D5D-0D5F14A60018}">
      <dgm:prSet/>
      <dgm:spPr/>
      <dgm:t>
        <a:bodyPr/>
        <a:lstStyle/>
        <a:p>
          <a:endParaRPr lang="en-GB"/>
        </a:p>
      </dgm:t>
    </dgm:pt>
    <dgm:pt modelId="{FDEFBC4B-0B23-AF43-8721-B46F56699BD8}" type="sibTrans" cxnId="{7B10DC9C-E010-5147-8D5D-0D5F14A60018}">
      <dgm:prSet/>
      <dgm:spPr/>
      <dgm:t>
        <a:bodyPr/>
        <a:lstStyle/>
        <a:p>
          <a:endParaRPr lang="en-GB"/>
        </a:p>
      </dgm:t>
    </dgm:pt>
    <dgm:pt modelId="{71652619-D15A-014D-942F-29AFA0708083}" type="pres">
      <dgm:prSet presAssocID="{44765DD9-C9BB-3B48-86B4-1F75D455B369}" presName="Name0" presStyleCnt="0">
        <dgm:presLayoutVars>
          <dgm:dir/>
          <dgm:resizeHandles val="exact"/>
        </dgm:presLayoutVars>
      </dgm:prSet>
      <dgm:spPr/>
    </dgm:pt>
    <dgm:pt modelId="{1DF1D8A6-58F0-D943-A111-E1B601B29CA1}" type="pres">
      <dgm:prSet presAssocID="{9EBCB732-5343-324C-A624-F3BA6A0DB814}" presName="node" presStyleLbl="node1" presStyleIdx="0" presStyleCnt="2">
        <dgm:presLayoutVars>
          <dgm:bulletEnabled val="1"/>
        </dgm:presLayoutVars>
      </dgm:prSet>
      <dgm:spPr/>
    </dgm:pt>
    <dgm:pt modelId="{054F56EF-B4E9-3749-A866-E4834970D5A9}" type="pres">
      <dgm:prSet presAssocID="{41487D11-F250-934E-BAC8-DEBFF64463AA}" presName="sibTrans" presStyleCnt="0"/>
      <dgm:spPr/>
    </dgm:pt>
    <dgm:pt modelId="{1A40F8E5-DB30-774C-9F51-64583E7CA8A5}" type="pres">
      <dgm:prSet presAssocID="{80CAF9B2-A2E8-8246-8594-AD3AA3C52D8B}" presName="node" presStyleLbl="node1" presStyleIdx="1" presStyleCnt="2">
        <dgm:presLayoutVars>
          <dgm:bulletEnabled val="1"/>
        </dgm:presLayoutVars>
      </dgm:prSet>
      <dgm:spPr/>
    </dgm:pt>
  </dgm:ptLst>
  <dgm:cxnLst>
    <dgm:cxn modelId="{32205E32-39B7-DC4A-B29B-71D410973185}" srcId="{44765DD9-C9BB-3B48-86B4-1F75D455B369}" destId="{9EBCB732-5343-324C-A624-F3BA6A0DB814}" srcOrd="0" destOrd="0" parTransId="{69DE9A28-4603-AA42-8ECA-D9EAF70D43F1}" sibTransId="{41487D11-F250-934E-BAC8-DEBFF64463AA}"/>
    <dgm:cxn modelId="{157D314B-1466-E945-8A52-AF580756C1C8}" type="presOf" srcId="{44765DD9-C9BB-3B48-86B4-1F75D455B369}" destId="{71652619-D15A-014D-942F-29AFA0708083}" srcOrd="0" destOrd="0" presId="urn:microsoft.com/office/officeart/2005/8/layout/hList6"/>
    <dgm:cxn modelId="{7E6DEE72-64B2-4C45-B22F-702211C8ECFB}" type="presOf" srcId="{9EBCB732-5343-324C-A624-F3BA6A0DB814}" destId="{1DF1D8A6-58F0-D943-A111-E1B601B29CA1}" srcOrd="0" destOrd="0" presId="urn:microsoft.com/office/officeart/2005/8/layout/hList6"/>
    <dgm:cxn modelId="{7B10DC9C-E010-5147-8D5D-0D5F14A60018}" srcId="{44765DD9-C9BB-3B48-86B4-1F75D455B369}" destId="{80CAF9B2-A2E8-8246-8594-AD3AA3C52D8B}" srcOrd="1" destOrd="0" parTransId="{4F6197EB-50AE-334E-B816-DB35606244A5}" sibTransId="{FDEFBC4B-0B23-AF43-8721-B46F56699BD8}"/>
    <dgm:cxn modelId="{98C46AE8-6EFF-3B4B-BD80-D419340E5643}" type="presOf" srcId="{80CAF9B2-A2E8-8246-8594-AD3AA3C52D8B}" destId="{1A40F8E5-DB30-774C-9F51-64583E7CA8A5}" srcOrd="0" destOrd="0" presId="urn:microsoft.com/office/officeart/2005/8/layout/hList6"/>
    <dgm:cxn modelId="{977F432B-D2B6-E745-9F75-AE42F6D985CC}" type="presParOf" srcId="{71652619-D15A-014D-942F-29AFA0708083}" destId="{1DF1D8A6-58F0-D943-A111-E1B601B29CA1}" srcOrd="0" destOrd="0" presId="urn:microsoft.com/office/officeart/2005/8/layout/hList6"/>
    <dgm:cxn modelId="{0A917B90-1E2D-F143-AD31-F872B61B9C15}" type="presParOf" srcId="{71652619-D15A-014D-942F-29AFA0708083}" destId="{054F56EF-B4E9-3749-A866-E4834970D5A9}" srcOrd="1" destOrd="0" presId="urn:microsoft.com/office/officeart/2005/8/layout/hList6"/>
    <dgm:cxn modelId="{580481AF-833E-0449-A70A-96FF75710E97}" type="presParOf" srcId="{71652619-D15A-014D-942F-29AFA0708083}" destId="{1A40F8E5-DB30-774C-9F51-64583E7CA8A5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B1DF777-5E2D-CF46-91C4-3CAB8EA12DCA}" type="doc">
      <dgm:prSet loTypeId="urn:microsoft.com/office/officeart/2005/8/layout/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FF674FBB-F805-7A41-B455-7B4D1DA831A5}">
      <dgm:prSet/>
      <dgm:spPr/>
      <dgm:t>
        <a:bodyPr/>
        <a:lstStyle/>
        <a:p>
          <a:r>
            <a:rPr lang="en-GB" dirty="0" err="1"/>
            <a:t>SecurityContextPersistenceFilter</a:t>
          </a:r>
          <a:endParaRPr lang="en-IN" dirty="0"/>
        </a:p>
      </dgm:t>
    </dgm:pt>
    <dgm:pt modelId="{21635C77-BDCA-E24B-AD52-B8C9B462E561}" type="parTrans" cxnId="{D20478A2-D2F8-E044-A07A-0115B65792DA}">
      <dgm:prSet/>
      <dgm:spPr/>
      <dgm:t>
        <a:bodyPr/>
        <a:lstStyle/>
        <a:p>
          <a:endParaRPr lang="en-GB"/>
        </a:p>
      </dgm:t>
    </dgm:pt>
    <dgm:pt modelId="{F70E2761-BC89-514E-902B-A9781A5C5EB0}" type="sibTrans" cxnId="{D20478A2-D2F8-E044-A07A-0115B65792DA}">
      <dgm:prSet/>
      <dgm:spPr/>
      <dgm:t>
        <a:bodyPr/>
        <a:lstStyle/>
        <a:p>
          <a:endParaRPr lang="en-GB"/>
        </a:p>
      </dgm:t>
    </dgm:pt>
    <dgm:pt modelId="{090AC0C7-09F4-3A41-B3C1-16B1767EA80C}">
      <dgm:prSet/>
      <dgm:spPr>
        <a:solidFill>
          <a:schemeClr val="accent1"/>
        </a:solidFill>
      </dgm:spPr>
      <dgm:t>
        <a:bodyPr/>
        <a:lstStyle/>
        <a:p>
          <a:r>
            <a:rPr lang="en-GB" dirty="0" err="1"/>
            <a:t>AuthenticationFilters</a:t>
          </a:r>
          <a:r>
            <a:rPr lang="en-GB" dirty="0"/>
            <a:t> (Basic, Form, etc)</a:t>
          </a:r>
          <a:endParaRPr lang="en-IN" dirty="0"/>
        </a:p>
      </dgm:t>
    </dgm:pt>
    <dgm:pt modelId="{6AB65DF4-333E-4446-87FC-5CEFF7718C01}" type="parTrans" cxnId="{D7C792E4-6F46-394C-8CD2-58EAEA5E7D61}">
      <dgm:prSet/>
      <dgm:spPr/>
      <dgm:t>
        <a:bodyPr/>
        <a:lstStyle/>
        <a:p>
          <a:endParaRPr lang="en-GB"/>
        </a:p>
      </dgm:t>
    </dgm:pt>
    <dgm:pt modelId="{0A619B54-1EFE-A443-ADF2-DFDD377D5D08}" type="sibTrans" cxnId="{D7C792E4-6F46-394C-8CD2-58EAEA5E7D61}">
      <dgm:prSet/>
      <dgm:spPr/>
      <dgm:t>
        <a:bodyPr/>
        <a:lstStyle/>
        <a:p>
          <a:endParaRPr lang="en-GB"/>
        </a:p>
      </dgm:t>
    </dgm:pt>
    <dgm:pt modelId="{80F24EC3-5D6B-B042-A422-F05EEA5359B5}">
      <dgm:prSet/>
      <dgm:spPr/>
      <dgm:t>
        <a:bodyPr/>
        <a:lstStyle/>
        <a:p>
          <a:r>
            <a:rPr lang="en-GB"/>
            <a:t>AnonymousAuthenticationFilter</a:t>
          </a:r>
          <a:endParaRPr lang="en-IN"/>
        </a:p>
      </dgm:t>
    </dgm:pt>
    <dgm:pt modelId="{8EFD57EE-0350-7748-BEFC-0A8E220F32EB}" type="parTrans" cxnId="{7E030DF8-A3B4-A347-B621-BC561A9D3E59}">
      <dgm:prSet/>
      <dgm:spPr/>
      <dgm:t>
        <a:bodyPr/>
        <a:lstStyle/>
        <a:p>
          <a:endParaRPr lang="en-GB"/>
        </a:p>
      </dgm:t>
    </dgm:pt>
    <dgm:pt modelId="{CF4FE2E9-0828-8B49-A9CF-A736BE73C971}" type="sibTrans" cxnId="{7E030DF8-A3B4-A347-B621-BC561A9D3E59}">
      <dgm:prSet/>
      <dgm:spPr/>
      <dgm:t>
        <a:bodyPr/>
        <a:lstStyle/>
        <a:p>
          <a:endParaRPr lang="en-GB"/>
        </a:p>
      </dgm:t>
    </dgm:pt>
    <dgm:pt modelId="{C90A0A5E-4623-4141-8233-D195AB7F2908}">
      <dgm:prSet/>
      <dgm:spPr/>
      <dgm:t>
        <a:bodyPr/>
        <a:lstStyle/>
        <a:p>
          <a:r>
            <a:rPr lang="en-GB"/>
            <a:t>ExceptionTranslationFilter</a:t>
          </a:r>
          <a:endParaRPr lang="en-IN"/>
        </a:p>
      </dgm:t>
    </dgm:pt>
    <dgm:pt modelId="{E0CFE4FA-B889-BD4C-8B70-541DAD9D0B79}" type="parTrans" cxnId="{A77B0B59-55B2-8640-9B5D-3ABE25522C86}">
      <dgm:prSet/>
      <dgm:spPr/>
      <dgm:t>
        <a:bodyPr/>
        <a:lstStyle/>
        <a:p>
          <a:endParaRPr lang="en-GB"/>
        </a:p>
      </dgm:t>
    </dgm:pt>
    <dgm:pt modelId="{48C7A78E-7A8C-7844-9D7D-365BCC97CFED}" type="sibTrans" cxnId="{A77B0B59-55B2-8640-9B5D-3ABE25522C86}">
      <dgm:prSet/>
      <dgm:spPr/>
      <dgm:t>
        <a:bodyPr/>
        <a:lstStyle/>
        <a:p>
          <a:endParaRPr lang="en-GB"/>
        </a:p>
      </dgm:t>
    </dgm:pt>
    <dgm:pt modelId="{327D7AD2-4284-8249-88F9-10F6FFC70DEF}">
      <dgm:prSet/>
      <dgm:spPr>
        <a:solidFill>
          <a:schemeClr val="accent4"/>
        </a:solidFill>
      </dgm:spPr>
      <dgm:t>
        <a:bodyPr/>
        <a:lstStyle/>
        <a:p>
          <a:r>
            <a:rPr lang="en-GB"/>
            <a:t>FilterSecurityInterceptor</a:t>
          </a:r>
          <a:endParaRPr lang="en-IN"/>
        </a:p>
      </dgm:t>
    </dgm:pt>
    <dgm:pt modelId="{1AF9EA9A-209E-7241-978F-6B3D15FCF7AD}" type="parTrans" cxnId="{ECE4F3F7-7A54-D24C-902E-CC7BB1C0F809}">
      <dgm:prSet/>
      <dgm:spPr/>
      <dgm:t>
        <a:bodyPr/>
        <a:lstStyle/>
        <a:p>
          <a:endParaRPr lang="en-GB"/>
        </a:p>
      </dgm:t>
    </dgm:pt>
    <dgm:pt modelId="{34348454-E2A8-0740-BB7C-04753D6300E7}" type="sibTrans" cxnId="{ECE4F3F7-7A54-D24C-902E-CC7BB1C0F809}">
      <dgm:prSet/>
      <dgm:spPr/>
      <dgm:t>
        <a:bodyPr/>
        <a:lstStyle/>
        <a:p>
          <a:endParaRPr lang="en-GB"/>
        </a:p>
      </dgm:t>
    </dgm:pt>
    <dgm:pt modelId="{3160084F-13E8-5E44-8B11-802EE4F7B455}" type="pres">
      <dgm:prSet presAssocID="{DB1DF777-5E2D-CF46-91C4-3CAB8EA12DCA}" presName="Name0" presStyleCnt="0">
        <dgm:presLayoutVars>
          <dgm:dir/>
          <dgm:animLvl val="lvl"/>
          <dgm:resizeHandles val="exact"/>
        </dgm:presLayoutVars>
      </dgm:prSet>
      <dgm:spPr/>
    </dgm:pt>
    <dgm:pt modelId="{61918845-F588-DA4A-91C9-955497C7B1EB}" type="pres">
      <dgm:prSet presAssocID="{327D7AD2-4284-8249-88F9-10F6FFC70DEF}" presName="boxAndChildren" presStyleCnt="0"/>
      <dgm:spPr/>
    </dgm:pt>
    <dgm:pt modelId="{EB55B406-E2A1-EE4C-83E9-30DC686A4904}" type="pres">
      <dgm:prSet presAssocID="{327D7AD2-4284-8249-88F9-10F6FFC70DEF}" presName="parentTextBox" presStyleLbl="node1" presStyleIdx="0" presStyleCnt="5"/>
      <dgm:spPr/>
    </dgm:pt>
    <dgm:pt modelId="{54D48030-7834-7849-B875-148CDC109F30}" type="pres">
      <dgm:prSet presAssocID="{48C7A78E-7A8C-7844-9D7D-365BCC97CFED}" presName="sp" presStyleCnt="0"/>
      <dgm:spPr/>
    </dgm:pt>
    <dgm:pt modelId="{31EB2B16-AE57-7E43-8E54-7D1C35892F8E}" type="pres">
      <dgm:prSet presAssocID="{C90A0A5E-4623-4141-8233-D195AB7F2908}" presName="arrowAndChildren" presStyleCnt="0"/>
      <dgm:spPr/>
    </dgm:pt>
    <dgm:pt modelId="{A6D3B5F4-5728-A646-B391-71321DF70F9F}" type="pres">
      <dgm:prSet presAssocID="{C90A0A5E-4623-4141-8233-D195AB7F2908}" presName="parentTextArrow" presStyleLbl="node1" presStyleIdx="1" presStyleCnt="5"/>
      <dgm:spPr/>
    </dgm:pt>
    <dgm:pt modelId="{6875E9BC-2502-4B46-9CD6-8861BFE05203}" type="pres">
      <dgm:prSet presAssocID="{CF4FE2E9-0828-8B49-A9CF-A736BE73C971}" presName="sp" presStyleCnt="0"/>
      <dgm:spPr/>
    </dgm:pt>
    <dgm:pt modelId="{C97BAFF3-547C-F14C-9B97-A05EB3FFEBC9}" type="pres">
      <dgm:prSet presAssocID="{80F24EC3-5D6B-B042-A422-F05EEA5359B5}" presName="arrowAndChildren" presStyleCnt="0"/>
      <dgm:spPr/>
    </dgm:pt>
    <dgm:pt modelId="{A520648E-B82F-754A-BB8F-EC0009C988E5}" type="pres">
      <dgm:prSet presAssocID="{80F24EC3-5D6B-B042-A422-F05EEA5359B5}" presName="parentTextArrow" presStyleLbl="node1" presStyleIdx="2" presStyleCnt="5"/>
      <dgm:spPr/>
    </dgm:pt>
    <dgm:pt modelId="{BBFC6460-6CF7-B846-B645-F851C0E50551}" type="pres">
      <dgm:prSet presAssocID="{0A619B54-1EFE-A443-ADF2-DFDD377D5D08}" presName="sp" presStyleCnt="0"/>
      <dgm:spPr/>
    </dgm:pt>
    <dgm:pt modelId="{FDD0D23C-7824-4247-AF41-74C8260A52E6}" type="pres">
      <dgm:prSet presAssocID="{090AC0C7-09F4-3A41-B3C1-16B1767EA80C}" presName="arrowAndChildren" presStyleCnt="0"/>
      <dgm:spPr/>
    </dgm:pt>
    <dgm:pt modelId="{EF291D84-C98C-524C-A97E-9DB91C70770A}" type="pres">
      <dgm:prSet presAssocID="{090AC0C7-09F4-3A41-B3C1-16B1767EA80C}" presName="parentTextArrow" presStyleLbl="node1" presStyleIdx="3" presStyleCnt="5"/>
      <dgm:spPr/>
    </dgm:pt>
    <dgm:pt modelId="{A6B0080F-B0A7-3444-B423-53B1DE406DFE}" type="pres">
      <dgm:prSet presAssocID="{F70E2761-BC89-514E-902B-A9781A5C5EB0}" presName="sp" presStyleCnt="0"/>
      <dgm:spPr/>
    </dgm:pt>
    <dgm:pt modelId="{8870080B-80DB-B045-9E39-5E66F08D5CBD}" type="pres">
      <dgm:prSet presAssocID="{FF674FBB-F805-7A41-B455-7B4D1DA831A5}" presName="arrowAndChildren" presStyleCnt="0"/>
      <dgm:spPr/>
    </dgm:pt>
    <dgm:pt modelId="{358C4510-826A-DE43-B60F-B81FA47381BC}" type="pres">
      <dgm:prSet presAssocID="{FF674FBB-F805-7A41-B455-7B4D1DA831A5}" presName="parentTextArrow" presStyleLbl="node1" presStyleIdx="4" presStyleCnt="5"/>
      <dgm:spPr/>
    </dgm:pt>
  </dgm:ptLst>
  <dgm:cxnLst>
    <dgm:cxn modelId="{A839CC0B-0CD9-C243-8D86-F1D233155D0E}" type="presOf" srcId="{C90A0A5E-4623-4141-8233-D195AB7F2908}" destId="{A6D3B5F4-5728-A646-B391-71321DF70F9F}" srcOrd="0" destOrd="0" presId="urn:microsoft.com/office/officeart/2005/8/layout/process4"/>
    <dgm:cxn modelId="{ED2FB313-0043-5A41-A370-5B042C9BAAEB}" type="presOf" srcId="{DB1DF777-5E2D-CF46-91C4-3CAB8EA12DCA}" destId="{3160084F-13E8-5E44-8B11-802EE4F7B455}" srcOrd="0" destOrd="0" presId="urn:microsoft.com/office/officeart/2005/8/layout/process4"/>
    <dgm:cxn modelId="{C37DB246-23BB-404C-A3F5-96B21198936A}" type="presOf" srcId="{80F24EC3-5D6B-B042-A422-F05EEA5359B5}" destId="{A520648E-B82F-754A-BB8F-EC0009C988E5}" srcOrd="0" destOrd="0" presId="urn:microsoft.com/office/officeart/2005/8/layout/process4"/>
    <dgm:cxn modelId="{A77B0B59-55B2-8640-9B5D-3ABE25522C86}" srcId="{DB1DF777-5E2D-CF46-91C4-3CAB8EA12DCA}" destId="{C90A0A5E-4623-4141-8233-D195AB7F2908}" srcOrd="3" destOrd="0" parTransId="{E0CFE4FA-B889-BD4C-8B70-541DAD9D0B79}" sibTransId="{48C7A78E-7A8C-7844-9D7D-365BCC97CFED}"/>
    <dgm:cxn modelId="{D20478A2-D2F8-E044-A07A-0115B65792DA}" srcId="{DB1DF777-5E2D-CF46-91C4-3CAB8EA12DCA}" destId="{FF674FBB-F805-7A41-B455-7B4D1DA831A5}" srcOrd="0" destOrd="0" parTransId="{21635C77-BDCA-E24B-AD52-B8C9B462E561}" sibTransId="{F70E2761-BC89-514E-902B-A9781A5C5EB0}"/>
    <dgm:cxn modelId="{8322FFA7-662A-7740-85FD-64D42A322B18}" type="presOf" srcId="{327D7AD2-4284-8249-88F9-10F6FFC70DEF}" destId="{EB55B406-E2A1-EE4C-83E9-30DC686A4904}" srcOrd="0" destOrd="0" presId="urn:microsoft.com/office/officeart/2005/8/layout/process4"/>
    <dgm:cxn modelId="{AFA88FE3-8331-2549-9FC0-5B431377AB74}" type="presOf" srcId="{FF674FBB-F805-7A41-B455-7B4D1DA831A5}" destId="{358C4510-826A-DE43-B60F-B81FA47381BC}" srcOrd="0" destOrd="0" presId="urn:microsoft.com/office/officeart/2005/8/layout/process4"/>
    <dgm:cxn modelId="{A830EEE3-0EB6-5245-B005-FD5E794BF5D8}" type="presOf" srcId="{090AC0C7-09F4-3A41-B3C1-16B1767EA80C}" destId="{EF291D84-C98C-524C-A97E-9DB91C70770A}" srcOrd="0" destOrd="0" presId="urn:microsoft.com/office/officeart/2005/8/layout/process4"/>
    <dgm:cxn modelId="{D7C792E4-6F46-394C-8CD2-58EAEA5E7D61}" srcId="{DB1DF777-5E2D-CF46-91C4-3CAB8EA12DCA}" destId="{090AC0C7-09F4-3A41-B3C1-16B1767EA80C}" srcOrd="1" destOrd="0" parTransId="{6AB65DF4-333E-4446-87FC-5CEFF7718C01}" sibTransId="{0A619B54-1EFE-A443-ADF2-DFDD377D5D08}"/>
    <dgm:cxn modelId="{ECE4F3F7-7A54-D24C-902E-CC7BB1C0F809}" srcId="{DB1DF777-5E2D-CF46-91C4-3CAB8EA12DCA}" destId="{327D7AD2-4284-8249-88F9-10F6FFC70DEF}" srcOrd="4" destOrd="0" parTransId="{1AF9EA9A-209E-7241-978F-6B3D15FCF7AD}" sibTransId="{34348454-E2A8-0740-BB7C-04753D6300E7}"/>
    <dgm:cxn modelId="{7E030DF8-A3B4-A347-B621-BC561A9D3E59}" srcId="{DB1DF777-5E2D-CF46-91C4-3CAB8EA12DCA}" destId="{80F24EC3-5D6B-B042-A422-F05EEA5359B5}" srcOrd="2" destOrd="0" parTransId="{8EFD57EE-0350-7748-BEFC-0A8E220F32EB}" sibTransId="{CF4FE2E9-0828-8B49-A9CF-A736BE73C971}"/>
    <dgm:cxn modelId="{1DB93884-A6EF-1F43-98FA-243DFF9DCEC9}" type="presParOf" srcId="{3160084F-13E8-5E44-8B11-802EE4F7B455}" destId="{61918845-F588-DA4A-91C9-955497C7B1EB}" srcOrd="0" destOrd="0" presId="urn:microsoft.com/office/officeart/2005/8/layout/process4"/>
    <dgm:cxn modelId="{2B2EB049-B38E-0043-B59D-F8520ACE6DD7}" type="presParOf" srcId="{61918845-F588-DA4A-91C9-955497C7B1EB}" destId="{EB55B406-E2A1-EE4C-83E9-30DC686A4904}" srcOrd="0" destOrd="0" presId="urn:microsoft.com/office/officeart/2005/8/layout/process4"/>
    <dgm:cxn modelId="{2AD92E01-EB92-5847-B78B-EDB8740EC868}" type="presParOf" srcId="{3160084F-13E8-5E44-8B11-802EE4F7B455}" destId="{54D48030-7834-7849-B875-148CDC109F30}" srcOrd="1" destOrd="0" presId="urn:microsoft.com/office/officeart/2005/8/layout/process4"/>
    <dgm:cxn modelId="{C6B3F595-2979-0B4D-861E-2D3D95D81FDE}" type="presParOf" srcId="{3160084F-13E8-5E44-8B11-802EE4F7B455}" destId="{31EB2B16-AE57-7E43-8E54-7D1C35892F8E}" srcOrd="2" destOrd="0" presId="urn:microsoft.com/office/officeart/2005/8/layout/process4"/>
    <dgm:cxn modelId="{3336A803-2D8F-7C42-9C9B-E9E02EC102D5}" type="presParOf" srcId="{31EB2B16-AE57-7E43-8E54-7D1C35892F8E}" destId="{A6D3B5F4-5728-A646-B391-71321DF70F9F}" srcOrd="0" destOrd="0" presId="urn:microsoft.com/office/officeart/2005/8/layout/process4"/>
    <dgm:cxn modelId="{C93F85B2-43BE-4A49-B34D-AEC14E7138BD}" type="presParOf" srcId="{3160084F-13E8-5E44-8B11-802EE4F7B455}" destId="{6875E9BC-2502-4B46-9CD6-8861BFE05203}" srcOrd="3" destOrd="0" presId="urn:microsoft.com/office/officeart/2005/8/layout/process4"/>
    <dgm:cxn modelId="{B5D0877E-F1A6-4046-82D0-86ABA8CB89ED}" type="presParOf" srcId="{3160084F-13E8-5E44-8B11-802EE4F7B455}" destId="{C97BAFF3-547C-F14C-9B97-A05EB3FFEBC9}" srcOrd="4" destOrd="0" presId="urn:microsoft.com/office/officeart/2005/8/layout/process4"/>
    <dgm:cxn modelId="{865038DB-8C7E-984B-BB12-789C725ECB41}" type="presParOf" srcId="{C97BAFF3-547C-F14C-9B97-A05EB3FFEBC9}" destId="{A520648E-B82F-754A-BB8F-EC0009C988E5}" srcOrd="0" destOrd="0" presId="urn:microsoft.com/office/officeart/2005/8/layout/process4"/>
    <dgm:cxn modelId="{D5216DBA-2D87-9541-A2E9-99E40CEED984}" type="presParOf" srcId="{3160084F-13E8-5E44-8B11-802EE4F7B455}" destId="{BBFC6460-6CF7-B846-B645-F851C0E50551}" srcOrd="5" destOrd="0" presId="urn:microsoft.com/office/officeart/2005/8/layout/process4"/>
    <dgm:cxn modelId="{C34842E6-1294-7B42-9DEB-052782944149}" type="presParOf" srcId="{3160084F-13E8-5E44-8B11-802EE4F7B455}" destId="{FDD0D23C-7824-4247-AF41-74C8260A52E6}" srcOrd="6" destOrd="0" presId="urn:microsoft.com/office/officeart/2005/8/layout/process4"/>
    <dgm:cxn modelId="{5E62B601-07D5-6243-8A46-8D4AE8502089}" type="presParOf" srcId="{FDD0D23C-7824-4247-AF41-74C8260A52E6}" destId="{EF291D84-C98C-524C-A97E-9DB91C70770A}" srcOrd="0" destOrd="0" presId="urn:microsoft.com/office/officeart/2005/8/layout/process4"/>
    <dgm:cxn modelId="{F6DF68C0-0AC7-D24C-814D-058AA92646C6}" type="presParOf" srcId="{3160084F-13E8-5E44-8B11-802EE4F7B455}" destId="{A6B0080F-B0A7-3444-B423-53B1DE406DFE}" srcOrd="7" destOrd="0" presId="urn:microsoft.com/office/officeart/2005/8/layout/process4"/>
    <dgm:cxn modelId="{9FBB6974-D79C-224D-A942-0F2393B1EF8B}" type="presParOf" srcId="{3160084F-13E8-5E44-8B11-802EE4F7B455}" destId="{8870080B-80DB-B045-9E39-5E66F08D5CBD}" srcOrd="8" destOrd="0" presId="urn:microsoft.com/office/officeart/2005/8/layout/process4"/>
    <dgm:cxn modelId="{8EE29DF3-1399-C84B-8047-69B114F114DE}" type="presParOf" srcId="{8870080B-80DB-B045-9E39-5E66F08D5CBD}" destId="{358C4510-826A-DE43-B60F-B81FA47381B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B9D125E-D881-CA46-91BF-10DB36CF4CE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0B16F6FB-C7C5-F64B-85B6-21D25AC60121}">
      <dgm:prSet/>
      <dgm:spPr/>
      <dgm:t>
        <a:bodyPr/>
        <a:lstStyle/>
        <a:p>
          <a:r>
            <a:rPr lang="en-US" dirty="0" err="1"/>
            <a:t>FilterSecurityInterceptor</a:t>
          </a:r>
          <a:r>
            <a:rPr lang="en-US" dirty="0"/>
            <a:t> obtains the “Security Metadata” by matching on the current request</a:t>
          </a:r>
          <a:endParaRPr lang="en-IN" dirty="0"/>
        </a:p>
      </dgm:t>
    </dgm:pt>
    <dgm:pt modelId="{B372A393-1FEB-3246-AA49-B8FDE5F54907}" type="parTrans" cxnId="{84C2119F-0D41-FE48-9026-6639545129AB}">
      <dgm:prSet/>
      <dgm:spPr/>
      <dgm:t>
        <a:bodyPr/>
        <a:lstStyle/>
        <a:p>
          <a:endParaRPr lang="en-GB"/>
        </a:p>
      </dgm:t>
    </dgm:pt>
    <dgm:pt modelId="{14DADB05-A9D3-7746-87C0-3E02A7172280}" type="sibTrans" cxnId="{84C2119F-0D41-FE48-9026-6639545129AB}">
      <dgm:prSet/>
      <dgm:spPr/>
      <dgm:t>
        <a:bodyPr/>
        <a:lstStyle/>
        <a:p>
          <a:endParaRPr lang="en-GB"/>
        </a:p>
      </dgm:t>
    </dgm:pt>
    <dgm:pt modelId="{9AC931DB-7006-D54E-B398-38FBFF0F9FB2}">
      <dgm:prSet/>
      <dgm:spPr/>
      <dgm:t>
        <a:bodyPr/>
        <a:lstStyle/>
        <a:p>
          <a:r>
            <a:rPr lang="en-US"/>
            <a:t>FilterSecurityInterceptor gets the AuthenticationToken</a:t>
          </a:r>
          <a:endParaRPr lang="en-IN"/>
        </a:p>
      </dgm:t>
    </dgm:pt>
    <dgm:pt modelId="{3C6469E2-1471-6640-8F89-89726EFB6B99}" type="parTrans" cxnId="{492524AF-1E0F-884D-AA3A-95E1733792D3}">
      <dgm:prSet/>
      <dgm:spPr/>
      <dgm:t>
        <a:bodyPr/>
        <a:lstStyle/>
        <a:p>
          <a:endParaRPr lang="en-GB"/>
        </a:p>
      </dgm:t>
    </dgm:pt>
    <dgm:pt modelId="{F17F592E-55BC-794F-B6E0-F10A12CE629B}" type="sibTrans" cxnId="{492524AF-1E0F-884D-AA3A-95E1733792D3}">
      <dgm:prSet/>
      <dgm:spPr/>
      <dgm:t>
        <a:bodyPr/>
        <a:lstStyle/>
        <a:p>
          <a:endParaRPr lang="en-GB"/>
        </a:p>
      </dgm:t>
    </dgm:pt>
    <dgm:pt modelId="{2BD27DE7-E61A-8346-9F6F-2334994F9AD4}">
      <dgm:prSet/>
      <dgm:spPr/>
      <dgm:t>
        <a:bodyPr/>
        <a:lstStyle/>
        <a:p>
          <a:r>
            <a:rPr lang="en-US"/>
            <a:t>The AuthenticationToken &amp; Security Metadata is passed to the AccessDecisionManager</a:t>
          </a:r>
          <a:endParaRPr lang="en-IN"/>
        </a:p>
      </dgm:t>
    </dgm:pt>
    <dgm:pt modelId="{2967FF20-1B94-0544-AE61-A1F8C471AFC8}" type="parTrans" cxnId="{F07D9785-9921-8C45-BB80-C59DAA6CC75B}">
      <dgm:prSet/>
      <dgm:spPr/>
      <dgm:t>
        <a:bodyPr/>
        <a:lstStyle/>
        <a:p>
          <a:endParaRPr lang="en-GB"/>
        </a:p>
      </dgm:t>
    </dgm:pt>
    <dgm:pt modelId="{07A78621-5541-A748-8123-D57AC542C4EB}" type="sibTrans" cxnId="{F07D9785-9921-8C45-BB80-C59DAA6CC75B}">
      <dgm:prSet/>
      <dgm:spPr/>
      <dgm:t>
        <a:bodyPr/>
        <a:lstStyle/>
        <a:p>
          <a:endParaRPr lang="en-GB"/>
        </a:p>
      </dgm:t>
    </dgm:pt>
    <dgm:pt modelId="{AA904090-661A-D14B-A8DA-69F0753A1073}">
      <dgm:prSet/>
      <dgm:spPr/>
      <dgm:t>
        <a:bodyPr/>
        <a:lstStyle/>
        <a:p>
          <a:r>
            <a:rPr lang="en-US"/>
            <a:t>AccessDecisionManager delegates to the resp. AccessDecisionVoter for votes</a:t>
          </a:r>
          <a:endParaRPr lang="en-IN"/>
        </a:p>
      </dgm:t>
    </dgm:pt>
    <dgm:pt modelId="{7AE45EA1-E32A-5A4F-A1AC-A69EBFF51914}" type="parTrans" cxnId="{6220818D-0C26-BE4C-B8B7-F7D8A5D7AF2F}">
      <dgm:prSet/>
      <dgm:spPr/>
      <dgm:t>
        <a:bodyPr/>
        <a:lstStyle/>
        <a:p>
          <a:endParaRPr lang="en-GB"/>
        </a:p>
      </dgm:t>
    </dgm:pt>
    <dgm:pt modelId="{A5402058-0ADA-634B-B5EB-4E3C3559F4D3}" type="sibTrans" cxnId="{6220818D-0C26-BE4C-B8B7-F7D8A5D7AF2F}">
      <dgm:prSet/>
      <dgm:spPr/>
      <dgm:t>
        <a:bodyPr/>
        <a:lstStyle/>
        <a:p>
          <a:endParaRPr lang="en-GB"/>
        </a:p>
      </dgm:t>
    </dgm:pt>
    <dgm:pt modelId="{CD63922B-39E7-9B4B-A20D-D2D9FD69D618}">
      <dgm:prSet/>
      <dgm:spPr/>
      <dgm:t>
        <a:bodyPr/>
        <a:lstStyle/>
        <a:p>
          <a:r>
            <a:rPr lang="en-US"/>
            <a:t>AccessDecisionManager post collection of votes evaluates the final result</a:t>
          </a:r>
          <a:endParaRPr lang="en-IN"/>
        </a:p>
      </dgm:t>
    </dgm:pt>
    <dgm:pt modelId="{E116A3AA-B7D0-7643-996D-51C4D38E1D4A}" type="parTrans" cxnId="{2636C252-03D7-9E4F-A92E-A282E32A3D9D}">
      <dgm:prSet/>
      <dgm:spPr/>
      <dgm:t>
        <a:bodyPr/>
        <a:lstStyle/>
        <a:p>
          <a:endParaRPr lang="en-GB"/>
        </a:p>
      </dgm:t>
    </dgm:pt>
    <dgm:pt modelId="{2DC95A80-6D21-614D-B15C-45922F218D2A}" type="sibTrans" cxnId="{2636C252-03D7-9E4F-A92E-A282E32A3D9D}">
      <dgm:prSet/>
      <dgm:spPr/>
      <dgm:t>
        <a:bodyPr/>
        <a:lstStyle/>
        <a:p>
          <a:endParaRPr lang="en-GB"/>
        </a:p>
      </dgm:t>
    </dgm:pt>
    <dgm:pt modelId="{E441A3A5-E055-5E40-B6A0-910972B7E906}">
      <dgm:prSet/>
      <dgm:spPr/>
      <dgm:t>
        <a:bodyPr/>
        <a:lstStyle/>
        <a:p>
          <a:r>
            <a:rPr lang="en-US"/>
            <a:t>Incase of failure AccessDecisionManager will raise an AccessDeniedException which will be handled by ExceptionTranslationFilter</a:t>
          </a:r>
          <a:endParaRPr lang="en-IN"/>
        </a:p>
      </dgm:t>
    </dgm:pt>
    <dgm:pt modelId="{4143D11F-0618-C145-B6AE-1D178A4E9BB7}" type="parTrans" cxnId="{EC91CF81-FB1E-9F42-B43F-5603096A5978}">
      <dgm:prSet/>
      <dgm:spPr/>
      <dgm:t>
        <a:bodyPr/>
        <a:lstStyle/>
        <a:p>
          <a:endParaRPr lang="en-GB"/>
        </a:p>
      </dgm:t>
    </dgm:pt>
    <dgm:pt modelId="{B22003DC-F9B4-934B-B334-E0595444B30E}" type="sibTrans" cxnId="{EC91CF81-FB1E-9F42-B43F-5603096A5978}">
      <dgm:prSet/>
      <dgm:spPr/>
      <dgm:t>
        <a:bodyPr/>
        <a:lstStyle/>
        <a:p>
          <a:endParaRPr lang="en-GB"/>
        </a:p>
      </dgm:t>
    </dgm:pt>
    <dgm:pt modelId="{D3CCE465-F13B-B740-9C65-F51C048F6DD3}" type="pres">
      <dgm:prSet presAssocID="{EB9D125E-D881-CA46-91BF-10DB36CF4CE5}" presName="vert0" presStyleCnt="0">
        <dgm:presLayoutVars>
          <dgm:dir/>
          <dgm:animOne val="branch"/>
          <dgm:animLvl val="lvl"/>
        </dgm:presLayoutVars>
      </dgm:prSet>
      <dgm:spPr/>
    </dgm:pt>
    <dgm:pt modelId="{50692C7C-A5D4-644A-8402-B90F462C1F40}" type="pres">
      <dgm:prSet presAssocID="{0B16F6FB-C7C5-F64B-85B6-21D25AC60121}" presName="thickLine" presStyleLbl="alignNode1" presStyleIdx="0" presStyleCnt="6"/>
      <dgm:spPr/>
    </dgm:pt>
    <dgm:pt modelId="{4E21F58E-1DAC-B54B-95EA-BF9B21579C69}" type="pres">
      <dgm:prSet presAssocID="{0B16F6FB-C7C5-F64B-85B6-21D25AC60121}" presName="horz1" presStyleCnt="0"/>
      <dgm:spPr/>
    </dgm:pt>
    <dgm:pt modelId="{7C52CBA2-4E62-854F-BF59-BC5FFCC9AD0C}" type="pres">
      <dgm:prSet presAssocID="{0B16F6FB-C7C5-F64B-85B6-21D25AC60121}" presName="tx1" presStyleLbl="revTx" presStyleIdx="0" presStyleCnt="6"/>
      <dgm:spPr/>
    </dgm:pt>
    <dgm:pt modelId="{8E80ED49-2C69-C842-AACC-50AED320922A}" type="pres">
      <dgm:prSet presAssocID="{0B16F6FB-C7C5-F64B-85B6-21D25AC60121}" presName="vert1" presStyleCnt="0"/>
      <dgm:spPr/>
    </dgm:pt>
    <dgm:pt modelId="{757096BA-F80B-1142-AA90-97B16DB4985F}" type="pres">
      <dgm:prSet presAssocID="{9AC931DB-7006-D54E-B398-38FBFF0F9FB2}" presName="thickLine" presStyleLbl="alignNode1" presStyleIdx="1" presStyleCnt="6"/>
      <dgm:spPr/>
    </dgm:pt>
    <dgm:pt modelId="{6117E542-D87E-ED45-B905-F56788036741}" type="pres">
      <dgm:prSet presAssocID="{9AC931DB-7006-D54E-B398-38FBFF0F9FB2}" presName="horz1" presStyleCnt="0"/>
      <dgm:spPr/>
    </dgm:pt>
    <dgm:pt modelId="{98680F1C-E7A0-FC44-89E0-FCC75C5C0E48}" type="pres">
      <dgm:prSet presAssocID="{9AC931DB-7006-D54E-B398-38FBFF0F9FB2}" presName="tx1" presStyleLbl="revTx" presStyleIdx="1" presStyleCnt="6"/>
      <dgm:spPr/>
    </dgm:pt>
    <dgm:pt modelId="{EB02950F-A5DB-0A42-B672-BC67676DCAA8}" type="pres">
      <dgm:prSet presAssocID="{9AC931DB-7006-D54E-B398-38FBFF0F9FB2}" presName="vert1" presStyleCnt="0"/>
      <dgm:spPr/>
    </dgm:pt>
    <dgm:pt modelId="{E88FABDD-95B7-1F42-8040-20736BCC89F0}" type="pres">
      <dgm:prSet presAssocID="{2BD27DE7-E61A-8346-9F6F-2334994F9AD4}" presName="thickLine" presStyleLbl="alignNode1" presStyleIdx="2" presStyleCnt="6"/>
      <dgm:spPr/>
    </dgm:pt>
    <dgm:pt modelId="{C7708E4F-2D28-2846-A399-C71FB1F762E2}" type="pres">
      <dgm:prSet presAssocID="{2BD27DE7-E61A-8346-9F6F-2334994F9AD4}" presName="horz1" presStyleCnt="0"/>
      <dgm:spPr/>
    </dgm:pt>
    <dgm:pt modelId="{2E1D6600-C30C-4749-9ACA-5EA239E5708B}" type="pres">
      <dgm:prSet presAssocID="{2BD27DE7-E61A-8346-9F6F-2334994F9AD4}" presName="tx1" presStyleLbl="revTx" presStyleIdx="2" presStyleCnt="6"/>
      <dgm:spPr/>
    </dgm:pt>
    <dgm:pt modelId="{FF69617C-2513-AE4A-8CB9-9C3BFD28FD82}" type="pres">
      <dgm:prSet presAssocID="{2BD27DE7-E61A-8346-9F6F-2334994F9AD4}" presName="vert1" presStyleCnt="0"/>
      <dgm:spPr/>
    </dgm:pt>
    <dgm:pt modelId="{D4AEDA0D-F9A3-2C42-A385-194D62573A0E}" type="pres">
      <dgm:prSet presAssocID="{AA904090-661A-D14B-A8DA-69F0753A1073}" presName="thickLine" presStyleLbl="alignNode1" presStyleIdx="3" presStyleCnt="6"/>
      <dgm:spPr/>
    </dgm:pt>
    <dgm:pt modelId="{B773C333-AFF9-754E-85A9-8168663E41DA}" type="pres">
      <dgm:prSet presAssocID="{AA904090-661A-D14B-A8DA-69F0753A1073}" presName="horz1" presStyleCnt="0"/>
      <dgm:spPr/>
    </dgm:pt>
    <dgm:pt modelId="{A2D4E9EB-F072-9B47-B43F-D1337B1E8284}" type="pres">
      <dgm:prSet presAssocID="{AA904090-661A-D14B-A8DA-69F0753A1073}" presName="tx1" presStyleLbl="revTx" presStyleIdx="3" presStyleCnt="6"/>
      <dgm:spPr/>
    </dgm:pt>
    <dgm:pt modelId="{7CE10469-8C59-6144-8942-A5ADF795CFC8}" type="pres">
      <dgm:prSet presAssocID="{AA904090-661A-D14B-A8DA-69F0753A1073}" presName="vert1" presStyleCnt="0"/>
      <dgm:spPr/>
    </dgm:pt>
    <dgm:pt modelId="{FECA7A30-73A1-BC4D-AEC9-B54B2AF25A2F}" type="pres">
      <dgm:prSet presAssocID="{CD63922B-39E7-9B4B-A20D-D2D9FD69D618}" presName="thickLine" presStyleLbl="alignNode1" presStyleIdx="4" presStyleCnt="6"/>
      <dgm:spPr/>
    </dgm:pt>
    <dgm:pt modelId="{8A2A4402-DA40-2D43-80DC-32118A66200F}" type="pres">
      <dgm:prSet presAssocID="{CD63922B-39E7-9B4B-A20D-D2D9FD69D618}" presName="horz1" presStyleCnt="0"/>
      <dgm:spPr/>
    </dgm:pt>
    <dgm:pt modelId="{4351D4F1-25B8-474F-B39D-E28852E5EAA1}" type="pres">
      <dgm:prSet presAssocID="{CD63922B-39E7-9B4B-A20D-D2D9FD69D618}" presName="tx1" presStyleLbl="revTx" presStyleIdx="4" presStyleCnt="6"/>
      <dgm:spPr/>
    </dgm:pt>
    <dgm:pt modelId="{79BED28D-5006-1741-AC78-B51B51B9A53F}" type="pres">
      <dgm:prSet presAssocID="{CD63922B-39E7-9B4B-A20D-D2D9FD69D618}" presName="vert1" presStyleCnt="0"/>
      <dgm:spPr/>
    </dgm:pt>
    <dgm:pt modelId="{3C146466-2122-804E-BCFA-529912CEC632}" type="pres">
      <dgm:prSet presAssocID="{E441A3A5-E055-5E40-B6A0-910972B7E906}" presName="thickLine" presStyleLbl="alignNode1" presStyleIdx="5" presStyleCnt="6"/>
      <dgm:spPr/>
    </dgm:pt>
    <dgm:pt modelId="{F33411EC-A032-E74B-9E42-79F2E6470D7C}" type="pres">
      <dgm:prSet presAssocID="{E441A3A5-E055-5E40-B6A0-910972B7E906}" presName="horz1" presStyleCnt="0"/>
      <dgm:spPr/>
    </dgm:pt>
    <dgm:pt modelId="{776CD666-69A5-5C42-B60D-493FD2FD1403}" type="pres">
      <dgm:prSet presAssocID="{E441A3A5-E055-5E40-B6A0-910972B7E906}" presName="tx1" presStyleLbl="revTx" presStyleIdx="5" presStyleCnt="6"/>
      <dgm:spPr/>
    </dgm:pt>
    <dgm:pt modelId="{8FE27A32-BAFE-9D44-922D-6465A706FDC7}" type="pres">
      <dgm:prSet presAssocID="{E441A3A5-E055-5E40-B6A0-910972B7E906}" presName="vert1" presStyleCnt="0"/>
      <dgm:spPr/>
    </dgm:pt>
  </dgm:ptLst>
  <dgm:cxnLst>
    <dgm:cxn modelId="{80018A0B-8681-144F-8113-A6575339578A}" type="presOf" srcId="{CD63922B-39E7-9B4B-A20D-D2D9FD69D618}" destId="{4351D4F1-25B8-474F-B39D-E28852E5EAA1}" srcOrd="0" destOrd="0" presId="urn:microsoft.com/office/officeart/2008/layout/LinedList"/>
    <dgm:cxn modelId="{E1DEB61A-96FF-FB40-90BB-34E3BEEBB914}" type="presOf" srcId="{AA904090-661A-D14B-A8DA-69F0753A1073}" destId="{A2D4E9EB-F072-9B47-B43F-D1337B1E8284}" srcOrd="0" destOrd="0" presId="urn:microsoft.com/office/officeart/2008/layout/LinedList"/>
    <dgm:cxn modelId="{40F80B26-E220-5D43-A4BA-77D8E3CD6917}" type="presOf" srcId="{9AC931DB-7006-D54E-B398-38FBFF0F9FB2}" destId="{98680F1C-E7A0-FC44-89E0-FCC75C5C0E48}" srcOrd="0" destOrd="0" presId="urn:microsoft.com/office/officeart/2008/layout/LinedList"/>
    <dgm:cxn modelId="{6E5E8A2E-1EE4-CF4C-A39E-4FFEDAE83349}" type="presOf" srcId="{0B16F6FB-C7C5-F64B-85B6-21D25AC60121}" destId="{7C52CBA2-4E62-854F-BF59-BC5FFCC9AD0C}" srcOrd="0" destOrd="0" presId="urn:microsoft.com/office/officeart/2008/layout/LinedList"/>
    <dgm:cxn modelId="{2636C252-03D7-9E4F-A92E-A282E32A3D9D}" srcId="{EB9D125E-D881-CA46-91BF-10DB36CF4CE5}" destId="{CD63922B-39E7-9B4B-A20D-D2D9FD69D618}" srcOrd="4" destOrd="0" parTransId="{E116A3AA-B7D0-7643-996D-51C4D38E1D4A}" sibTransId="{2DC95A80-6D21-614D-B15C-45922F218D2A}"/>
    <dgm:cxn modelId="{EC91CF81-FB1E-9F42-B43F-5603096A5978}" srcId="{EB9D125E-D881-CA46-91BF-10DB36CF4CE5}" destId="{E441A3A5-E055-5E40-B6A0-910972B7E906}" srcOrd="5" destOrd="0" parTransId="{4143D11F-0618-C145-B6AE-1D178A4E9BB7}" sibTransId="{B22003DC-F9B4-934B-B334-E0595444B30E}"/>
    <dgm:cxn modelId="{F07D9785-9921-8C45-BB80-C59DAA6CC75B}" srcId="{EB9D125E-D881-CA46-91BF-10DB36CF4CE5}" destId="{2BD27DE7-E61A-8346-9F6F-2334994F9AD4}" srcOrd="2" destOrd="0" parTransId="{2967FF20-1B94-0544-AE61-A1F8C471AFC8}" sibTransId="{07A78621-5541-A748-8123-D57AC542C4EB}"/>
    <dgm:cxn modelId="{6220818D-0C26-BE4C-B8B7-F7D8A5D7AF2F}" srcId="{EB9D125E-D881-CA46-91BF-10DB36CF4CE5}" destId="{AA904090-661A-D14B-A8DA-69F0753A1073}" srcOrd="3" destOrd="0" parTransId="{7AE45EA1-E32A-5A4F-A1AC-A69EBFF51914}" sibTransId="{A5402058-0ADA-634B-B5EB-4E3C3559F4D3}"/>
    <dgm:cxn modelId="{3B244B91-B023-AB4E-8083-9CC410F90B8C}" type="presOf" srcId="{E441A3A5-E055-5E40-B6A0-910972B7E906}" destId="{776CD666-69A5-5C42-B60D-493FD2FD1403}" srcOrd="0" destOrd="0" presId="urn:microsoft.com/office/officeart/2008/layout/LinedList"/>
    <dgm:cxn modelId="{84C2119F-0D41-FE48-9026-6639545129AB}" srcId="{EB9D125E-D881-CA46-91BF-10DB36CF4CE5}" destId="{0B16F6FB-C7C5-F64B-85B6-21D25AC60121}" srcOrd="0" destOrd="0" parTransId="{B372A393-1FEB-3246-AA49-B8FDE5F54907}" sibTransId="{14DADB05-A9D3-7746-87C0-3E02A7172280}"/>
    <dgm:cxn modelId="{492524AF-1E0F-884D-AA3A-95E1733792D3}" srcId="{EB9D125E-D881-CA46-91BF-10DB36CF4CE5}" destId="{9AC931DB-7006-D54E-B398-38FBFF0F9FB2}" srcOrd="1" destOrd="0" parTransId="{3C6469E2-1471-6640-8F89-89726EFB6B99}" sibTransId="{F17F592E-55BC-794F-B6E0-F10A12CE629B}"/>
    <dgm:cxn modelId="{761F4DD6-A76E-F949-9264-78449A268661}" type="presOf" srcId="{EB9D125E-D881-CA46-91BF-10DB36CF4CE5}" destId="{D3CCE465-F13B-B740-9C65-F51C048F6DD3}" srcOrd="0" destOrd="0" presId="urn:microsoft.com/office/officeart/2008/layout/LinedList"/>
    <dgm:cxn modelId="{A5140CDC-7C84-BD4F-B9E1-3061D6CC0DDC}" type="presOf" srcId="{2BD27DE7-E61A-8346-9F6F-2334994F9AD4}" destId="{2E1D6600-C30C-4749-9ACA-5EA239E5708B}" srcOrd="0" destOrd="0" presId="urn:microsoft.com/office/officeart/2008/layout/LinedList"/>
    <dgm:cxn modelId="{A343DCB5-63A9-404D-B6C1-2DA6B539719D}" type="presParOf" srcId="{D3CCE465-F13B-B740-9C65-F51C048F6DD3}" destId="{50692C7C-A5D4-644A-8402-B90F462C1F40}" srcOrd="0" destOrd="0" presId="urn:microsoft.com/office/officeart/2008/layout/LinedList"/>
    <dgm:cxn modelId="{C1072BAE-FBB7-B748-A762-B39D8A0B9933}" type="presParOf" srcId="{D3CCE465-F13B-B740-9C65-F51C048F6DD3}" destId="{4E21F58E-1DAC-B54B-95EA-BF9B21579C69}" srcOrd="1" destOrd="0" presId="urn:microsoft.com/office/officeart/2008/layout/LinedList"/>
    <dgm:cxn modelId="{3A078632-10EC-D24A-A326-BB7741F1E350}" type="presParOf" srcId="{4E21F58E-1DAC-B54B-95EA-BF9B21579C69}" destId="{7C52CBA2-4E62-854F-BF59-BC5FFCC9AD0C}" srcOrd="0" destOrd="0" presId="urn:microsoft.com/office/officeart/2008/layout/LinedList"/>
    <dgm:cxn modelId="{B94A2348-6032-A54E-BE3D-0A645B175DBB}" type="presParOf" srcId="{4E21F58E-1DAC-B54B-95EA-BF9B21579C69}" destId="{8E80ED49-2C69-C842-AACC-50AED320922A}" srcOrd="1" destOrd="0" presId="urn:microsoft.com/office/officeart/2008/layout/LinedList"/>
    <dgm:cxn modelId="{DC091353-7037-734F-AF84-5709D1B4E828}" type="presParOf" srcId="{D3CCE465-F13B-B740-9C65-F51C048F6DD3}" destId="{757096BA-F80B-1142-AA90-97B16DB4985F}" srcOrd="2" destOrd="0" presId="urn:microsoft.com/office/officeart/2008/layout/LinedList"/>
    <dgm:cxn modelId="{B1FF8BCC-AE96-4E45-A9D2-3E06F8370A6A}" type="presParOf" srcId="{D3CCE465-F13B-B740-9C65-F51C048F6DD3}" destId="{6117E542-D87E-ED45-B905-F56788036741}" srcOrd="3" destOrd="0" presId="urn:microsoft.com/office/officeart/2008/layout/LinedList"/>
    <dgm:cxn modelId="{39B1E062-ABB0-5B4F-A833-2322EF1F2B17}" type="presParOf" srcId="{6117E542-D87E-ED45-B905-F56788036741}" destId="{98680F1C-E7A0-FC44-89E0-FCC75C5C0E48}" srcOrd="0" destOrd="0" presId="urn:microsoft.com/office/officeart/2008/layout/LinedList"/>
    <dgm:cxn modelId="{858C2CC1-B836-054B-BAE8-224F8510C022}" type="presParOf" srcId="{6117E542-D87E-ED45-B905-F56788036741}" destId="{EB02950F-A5DB-0A42-B672-BC67676DCAA8}" srcOrd="1" destOrd="0" presId="urn:microsoft.com/office/officeart/2008/layout/LinedList"/>
    <dgm:cxn modelId="{64617A4F-9396-D64F-B092-974AD03FE305}" type="presParOf" srcId="{D3CCE465-F13B-B740-9C65-F51C048F6DD3}" destId="{E88FABDD-95B7-1F42-8040-20736BCC89F0}" srcOrd="4" destOrd="0" presId="urn:microsoft.com/office/officeart/2008/layout/LinedList"/>
    <dgm:cxn modelId="{1D654504-A7ED-BB46-B05F-05B24119DD18}" type="presParOf" srcId="{D3CCE465-F13B-B740-9C65-F51C048F6DD3}" destId="{C7708E4F-2D28-2846-A399-C71FB1F762E2}" srcOrd="5" destOrd="0" presId="urn:microsoft.com/office/officeart/2008/layout/LinedList"/>
    <dgm:cxn modelId="{891EF221-A174-1340-B084-16FD8A994FB2}" type="presParOf" srcId="{C7708E4F-2D28-2846-A399-C71FB1F762E2}" destId="{2E1D6600-C30C-4749-9ACA-5EA239E5708B}" srcOrd="0" destOrd="0" presId="urn:microsoft.com/office/officeart/2008/layout/LinedList"/>
    <dgm:cxn modelId="{8C398046-A2F8-FD4B-818C-CCA320FAFEA8}" type="presParOf" srcId="{C7708E4F-2D28-2846-A399-C71FB1F762E2}" destId="{FF69617C-2513-AE4A-8CB9-9C3BFD28FD82}" srcOrd="1" destOrd="0" presId="urn:microsoft.com/office/officeart/2008/layout/LinedList"/>
    <dgm:cxn modelId="{ADC2AE63-01B3-684D-8106-9B7981CE0AB5}" type="presParOf" srcId="{D3CCE465-F13B-B740-9C65-F51C048F6DD3}" destId="{D4AEDA0D-F9A3-2C42-A385-194D62573A0E}" srcOrd="6" destOrd="0" presId="urn:microsoft.com/office/officeart/2008/layout/LinedList"/>
    <dgm:cxn modelId="{8DCA69B3-9FFE-8941-80D9-A31BAB532711}" type="presParOf" srcId="{D3CCE465-F13B-B740-9C65-F51C048F6DD3}" destId="{B773C333-AFF9-754E-85A9-8168663E41DA}" srcOrd="7" destOrd="0" presId="urn:microsoft.com/office/officeart/2008/layout/LinedList"/>
    <dgm:cxn modelId="{0443416B-2C82-AD49-99ED-F684A50417E8}" type="presParOf" srcId="{B773C333-AFF9-754E-85A9-8168663E41DA}" destId="{A2D4E9EB-F072-9B47-B43F-D1337B1E8284}" srcOrd="0" destOrd="0" presId="urn:microsoft.com/office/officeart/2008/layout/LinedList"/>
    <dgm:cxn modelId="{B23C66EC-6C80-B04B-870E-EC2596982854}" type="presParOf" srcId="{B773C333-AFF9-754E-85A9-8168663E41DA}" destId="{7CE10469-8C59-6144-8942-A5ADF795CFC8}" srcOrd="1" destOrd="0" presId="urn:microsoft.com/office/officeart/2008/layout/LinedList"/>
    <dgm:cxn modelId="{976E641C-9DB1-DC47-B021-694BD8DDE13D}" type="presParOf" srcId="{D3CCE465-F13B-B740-9C65-F51C048F6DD3}" destId="{FECA7A30-73A1-BC4D-AEC9-B54B2AF25A2F}" srcOrd="8" destOrd="0" presId="urn:microsoft.com/office/officeart/2008/layout/LinedList"/>
    <dgm:cxn modelId="{9FDAE2A4-9461-AA46-A73D-28154FB2206F}" type="presParOf" srcId="{D3CCE465-F13B-B740-9C65-F51C048F6DD3}" destId="{8A2A4402-DA40-2D43-80DC-32118A66200F}" srcOrd="9" destOrd="0" presId="urn:microsoft.com/office/officeart/2008/layout/LinedList"/>
    <dgm:cxn modelId="{8734AE4A-6F42-7F47-B79E-6174FB15A120}" type="presParOf" srcId="{8A2A4402-DA40-2D43-80DC-32118A66200F}" destId="{4351D4F1-25B8-474F-B39D-E28852E5EAA1}" srcOrd="0" destOrd="0" presId="urn:microsoft.com/office/officeart/2008/layout/LinedList"/>
    <dgm:cxn modelId="{923DC08A-C96E-264F-89FC-7450ECDDABC3}" type="presParOf" srcId="{8A2A4402-DA40-2D43-80DC-32118A66200F}" destId="{79BED28D-5006-1741-AC78-B51B51B9A53F}" srcOrd="1" destOrd="0" presId="urn:microsoft.com/office/officeart/2008/layout/LinedList"/>
    <dgm:cxn modelId="{D148E177-E7D5-CA4E-8466-40A4AF0E8190}" type="presParOf" srcId="{D3CCE465-F13B-B740-9C65-F51C048F6DD3}" destId="{3C146466-2122-804E-BCFA-529912CEC632}" srcOrd="10" destOrd="0" presId="urn:microsoft.com/office/officeart/2008/layout/LinedList"/>
    <dgm:cxn modelId="{63399AC7-AE98-D349-9984-D821098085DA}" type="presParOf" srcId="{D3CCE465-F13B-B740-9C65-F51C048F6DD3}" destId="{F33411EC-A032-E74B-9E42-79F2E6470D7C}" srcOrd="11" destOrd="0" presId="urn:microsoft.com/office/officeart/2008/layout/LinedList"/>
    <dgm:cxn modelId="{208704C5-FA2C-7D4A-84C1-60CB615D3C7A}" type="presParOf" srcId="{F33411EC-A032-E74B-9E42-79F2E6470D7C}" destId="{776CD666-69A5-5C42-B60D-493FD2FD1403}" srcOrd="0" destOrd="0" presId="urn:microsoft.com/office/officeart/2008/layout/LinedList"/>
    <dgm:cxn modelId="{0EED678B-5302-D44D-BDB5-254413D3F644}" type="presParOf" srcId="{F33411EC-A032-E74B-9E42-79F2E6470D7C}" destId="{8FE27A32-BAFE-9D44-922D-6465A706FDC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61AAB1-EC40-664D-A5A5-478B64344EFD}">
      <dsp:nvSpPr>
        <dsp:cNvPr id="0" name=""/>
        <dsp:cNvSpPr/>
      </dsp:nvSpPr>
      <dsp:spPr>
        <a:xfrm rot="10800000">
          <a:off x="1166901" y="223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Features</a:t>
          </a:r>
          <a:endParaRPr lang="en-IN" sz="2000" kern="1200"/>
        </a:p>
      </dsp:txBody>
      <dsp:txXfrm rot="10800000">
        <a:off x="1308791" y="223"/>
        <a:ext cx="3927558" cy="567560"/>
      </dsp:txXfrm>
    </dsp:sp>
    <dsp:sp modelId="{22BCDAF3-17CC-D141-B561-A3AF3C7A79B4}">
      <dsp:nvSpPr>
        <dsp:cNvPr id="0" name=""/>
        <dsp:cNvSpPr/>
      </dsp:nvSpPr>
      <dsp:spPr>
        <a:xfrm>
          <a:off x="883121" y="223"/>
          <a:ext cx="567560" cy="567560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8E700B-D9F7-A949-A88F-4716D0D14549}">
      <dsp:nvSpPr>
        <dsp:cNvPr id="0" name=""/>
        <dsp:cNvSpPr/>
      </dsp:nvSpPr>
      <dsp:spPr>
        <a:xfrm rot="10800000">
          <a:off x="1166901" y="737204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/>
            <a:t>Architecture</a:t>
          </a:r>
        </a:p>
      </dsp:txBody>
      <dsp:txXfrm rot="10800000">
        <a:off x="1308791" y="737204"/>
        <a:ext cx="3927558" cy="567560"/>
      </dsp:txXfrm>
    </dsp:sp>
    <dsp:sp modelId="{067AC530-547E-2140-93C0-4B0D6EE1FF05}">
      <dsp:nvSpPr>
        <dsp:cNvPr id="0" name=""/>
        <dsp:cNvSpPr/>
      </dsp:nvSpPr>
      <dsp:spPr>
        <a:xfrm>
          <a:off x="883121" y="737204"/>
          <a:ext cx="567560" cy="567560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7ED2B8-2C30-7244-A1EB-8DB5CF107027}">
      <dsp:nvSpPr>
        <dsp:cNvPr id="0" name=""/>
        <dsp:cNvSpPr/>
      </dsp:nvSpPr>
      <dsp:spPr>
        <a:xfrm rot="10800000">
          <a:off x="1166901" y="1474185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Authentication</a:t>
          </a:r>
          <a:endParaRPr lang="en-IN" sz="2000" kern="1200"/>
        </a:p>
      </dsp:txBody>
      <dsp:txXfrm rot="10800000">
        <a:off x="1308791" y="1474185"/>
        <a:ext cx="3927558" cy="567560"/>
      </dsp:txXfrm>
    </dsp:sp>
    <dsp:sp modelId="{68B66282-8FAB-1D46-BDF9-4B4DB43321D7}">
      <dsp:nvSpPr>
        <dsp:cNvPr id="0" name=""/>
        <dsp:cNvSpPr/>
      </dsp:nvSpPr>
      <dsp:spPr>
        <a:xfrm>
          <a:off x="883121" y="1474185"/>
          <a:ext cx="567560" cy="567560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C554A5-EBE0-474F-A1D9-56CE57A67F5C}">
      <dsp:nvSpPr>
        <dsp:cNvPr id="0" name=""/>
        <dsp:cNvSpPr/>
      </dsp:nvSpPr>
      <dsp:spPr>
        <a:xfrm rot="10800000">
          <a:off x="1166901" y="2211166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Authorization</a:t>
          </a:r>
          <a:endParaRPr lang="en-IN" sz="2000" kern="1200"/>
        </a:p>
      </dsp:txBody>
      <dsp:txXfrm rot="10800000">
        <a:off x="1308791" y="2211166"/>
        <a:ext cx="3927558" cy="567560"/>
      </dsp:txXfrm>
    </dsp:sp>
    <dsp:sp modelId="{19B0F145-CC96-8748-A9B8-189DE216D575}">
      <dsp:nvSpPr>
        <dsp:cNvPr id="0" name=""/>
        <dsp:cNvSpPr/>
      </dsp:nvSpPr>
      <dsp:spPr>
        <a:xfrm>
          <a:off x="883121" y="2211166"/>
          <a:ext cx="567560" cy="567560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C1E1EA-FE8D-7B47-8937-4F68E5E2F1D0}">
      <dsp:nvSpPr>
        <dsp:cNvPr id="0" name=""/>
        <dsp:cNvSpPr/>
      </dsp:nvSpPr>
      <dsp:spPr>
        <a:xfrm rot="10800000">
          <a:off x="1166901" y="2948147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xception Handling</a:t>
          </a:r>
          <a:endParaRPr lang="en-IN" sz="2000" kern="1200"/>
        </a:p>
      </dsp:txBody>
      <dsp:txXfrm rot="10800000">
        <a:off x="1308791" y="2948147"/>
        <a:ext cx="3927558" cy="567560"/>
      </dsp:txXfrm>
    </dsp:sp>
    <dsp:sp modelId="{9BEBCD04-3393-FD45-8178-572D8022A020}">
      <dsp:nvSpPr>
        <dsp:cNvPr id="0" name=""/>
        <dsp:cNvSpPr/>
      </dsp:nvSpPr>
      <dsp:spPr>
        <a:xfrm>
          <a:off x="883121" y="2948147"/>
          <a:ext cx="567560" cy="567560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792AEF-D9EF-C149-A641-597A2A7DBFD1}">
      <dsp:nvSpPr>
        <dsp:cNvPr id="0" name=""/>
        <dsp:cNvSpPr/>
      </dsp:nvSpPr>
      <dsp:spPr>
        <a:xfrm rot="10800000">
          <a:off x="1166901" y="3685128"/>
          <a:ext cx="4069448" cy="567560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278" tIns="76200" rIns="14224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Common Security Threats</a:t>
          </a:r>
          <a:endParaRPr lang="en-IN" sz="2000" kern="1200"/>
        </a:p>
      </dsp:txBody>
      <dsp:txXfrm rot="10800000">
        <a:off x="1308791" y="3685128"/>
        <a:ext cx="3927558" cy="567560"/>
      </dsp:txXfrm>
    </dsp:sp>
    <dsp:sp modelId="{5FA9AA1E-AFC2-C141-AD7A-51D09AC94BDF}">
      <dsp:nvSpPr>
        <dsp:cNvPr id="0" name=""/>
        <dsp:cNvSpPr/>
      </dsp:nvSpPr>
      <dsp:spPr>
        <a:xfrm>
          <a:off x="883121" y="3685128"/>
          <a:ext cx="567560" cy="567560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805215-FB81-BB49-8478-239BAA09B3E2}">
      <dsp:nvSpPr>
        <dsp:cNvPr id="0" name=""/>
        <dsp:cNvSpPr/>
      </dsp:nvSpPr>
      <dsp:spPr>
        <a:xfrm>
          <a:off x="415827" y="2175669"/>
          <a:ext cx="272234" cy="5187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117" y="0"/>
              </a:lnTo>
              <a:lnTo>
                <a:pt x="136117" y="518739"/>
              </a:lnTo>
              <a:lnTo>
                <a:pt x="272234" y="51873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37298" y="2420393"/>
        <a:ext cx="29291" cy="29291"/>
      </dsp:txXfrm>
    </dsp:sp>
    <dsp:sp modelId="{9EB2547F-FF5C-1F4A-B534-A524B2D0FFDF}">
      <dsp:nvSpPr>
        <dsp:cNvPr id="0" name=""/>
        <dsp:cNvSpPr/>
      </dsp:nvSpPr>
      <dsp:spPr>
        <a:xfrm>
          <a:off x="415827" y="2129949"/>
          <a:ext cx="2722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72234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45139" y="2168863"/>
        <a:ext cx="13611" cy="13611"/>
      </dsp:txXfrm>
    </dsp:sp>
    <dsp:sp modelId="{A81DEC10-536A-4346-88DB-A2C648D3E27E}">
      <dsp:nvSpPr>
        <dsp:cNvPr id="0" name=""/>
        <dsp:cNvSpPr/>
      </dsp:nvSpPr>
      <dsp:spPr>
        <a:xfrm>
          <a:off x="415827" y="1656929"/>
          <a:ext cx="272234" cy="518739"/>
        </a:xfrm>
        <a:custGeom>
          <a:avLst/>
          <a:gdLst/>
          <a:ahLst/>
          <a:cxnLst/>
          <a:rect l="0" t="0" r="0" b="0"/>
          <a:pathLst>
            <a:path>
              <a:moveTo>
                <a:pt x="0" y="518739"/>
              </a:moveTo>
              <a:lnTo>
                <a:pt x="136117" y="518739"/>
              </a:lnTo>
              <a:lnTo>
                <a:pt x="136117" y="0"/>
              </a:lnTo>
              <a:lnTo>
                <a:pt x="27223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37298" y="1901653"/>
        <a:ext cx="29291" cy="29291"/>
      </dsp:txXfrm>
    </dsp:sp>
    <dsp:sp modelId="{335194EB-E9FF-EF42-A841-1184DCC6E310}">
      <dsp:nvSpPr>
        <dsp:cNvPr id="0" name=""/>
        <dsp:cNvSpPr/>
      </dsp:nvSpPr>
      <dsp:spPr>
        <a:xfrm rot="16200000">
          <a:off x="-883752" y="1968173"/>
          <a:ext cx="2184167" cy="41499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700" kern="1200" dirty="0"/>
            <a:t>Layers</a:t>
          </a:r>
        </a:p>
      </dsp:txBody>
      <dsp:txXfrm>
        <a:off x="-883752" y="1968173"/>
        <a:ext cx="2184167" cy="414991"/>
      </dsp:txXfrm>
    </dsp:sp>
    <dsp:sp modelId="{6EB3CF56-E71B-8040-9FEF-172C76CAADD2}">
      <dsp:nvSpPr>
        <dsp:cNvPr id="0" name=""/>
        <dsp:cNvSpPr/>
      </dsp:nvSpPr>
      <dsp:spPr>
        <a:xfrm>
          <a:off x="688062" y="1449433"/>
          <a:ext cx="3989980" cy="414991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URL</a:t>
          </a:r>
          <a:endParaRPr lang="en-IN" sz="2600" kern="1200" dirty="0"/>
        </a:p>
      </dsp:txBody>
      <dsp:txXfrm>
        <a:off x="688062" y="1449433"/>
        <a:ext cx="3989980" cy="414991"/>
      </dsp:txXfrm>
    </dsp:sp>
    <dsp:sp modelId="{223A5AD9-DC34-A246-A6D8-FFA432D6D46D}">
      <dsp:nvSpPr>
        <dsp:cNvPr id="0" name=""/>
        <dsp:cNvSpPr/>
      </dsp:nvSpPr>
      <dsp:spPr>
        <a:xfrm>
          <a:off x="688062" y="1968173"/>
          <a:ext cx="3989980" cy="414991"/>
        </a:xfrm>
        <a:prstGeom prst="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Method</a:t>
          </a:r>
          <a:endParaRPr lang="en-IN" sz="2600" kern="1200" dirty="0"/>
        </a:p>
      </dsp:txBody>
      <dsp:txXfrm>
        <a:off x="688062" y="1968173"/>
        <a:ext cx="3989980" cy="414991"/>
      </dsp:txXfrm>
    </dsp:sp>
    <dsp:sp modelId="{47C8577C-2B8A-0541-B0AB-A1033B7B2EEF}">
      <dsp:nvSpPr>
        <dsp:cNvPr id="0" name=""/>
        <dsp:cNvSpPr/>
      </dsp:nvSpPr>
      <dsp:spPr>
        <a:xfrm>
          <a:off x="688062" y="2486912"/>
          <a:ext cx="3989980" cy="414991"/>
        </a:xfrm>
        <a:prstGeom prst="rect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Domain Object</a:t>
          </a:r>
          <a:endParaRPr lang="en-IN" sz="2600" kern="1200" dirty="0"/>
        </a:p>
      </dsp:txBody>
      <dsp:txXfrm>
        <a:off x="688062" y="2486912"/>
        <a:ext cx="3989980" cy="41499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1C98E0-B87C-2446-A412-BBAB465A653A}">
      <dsp:nvSpPr>
        <dsp:cNvPr id="0" name=""/>
        <dsp:cNvSpPr/>
      </dsp:nvSpPr>
      <dsp:spPr>
        <a:xfrm rot="16200000">
          <a:off x="-1182847" y="1185622"/>
          <a:ext cx="5040159" cy="2668915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0" rIns="246063" bIns="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/>
            <a:t>Securing URLs</a:t>
          </a:r>
          <a:endParaRPr lang="en-IN" sz="3900" kern="1200" dirty="0"/>
        </a:p>
      </dsp:txBody>
      <dsp:txXfrm rot="5400000">
        <a:off x="2775" y="1008032"/>
        <a:ext cx="2668915" cy="3024095"/>
      </dsp:txXfrm>
    </dsp:sp>
    <dsp:sp modelId="{D6C69AC0-6CFE-074F-B649-FDBD71DD35C3}">
      <dsp:nvSpPr>
        <dsp:cNvPr id="0" name=""/>
        <dsp:cNvSpPr/>
      </dsp:nvSpPr>
      <dsp:spPr>
        <a:xfrm rot="16200000">
          <a:off x="1686236" y="1185622"/>
          <a:ext cx="5040159" cy="2668915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0" rIns="246063" bIns="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/>
            <a:t>Securing Methods</a:t>
          </a:r>
          <a:endParaRPr lang="en-US" sz="3900" kern="1200" dirty="0"/>
        </a:p>
      </dsp:txBody>
      <dsp:txXfrm rot="5400000">
        <a:off x="2871858" y="1008032"/>
        <a:ext cx="2668915" cy="302409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512F41-4692-9F46-A305-1E15BAD14BA8}">
      <dsp:nvSpPr>
        <dsp:cNvPr id="0" name=""/>
        <dsp:cNvSpPr/>
      </dsp:nvSpPr>
      <dsp:spPr>
        <a:xfrm>
          <a:off x="1116202" y="4851"/>
          <a:ext cx="2392638" cy="178605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Built on-top of Spring</a:t>
          </a:r>
          <a:endParaRPr lang="en-I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ntegration with Spring Web (MVC, Rest)</a:t>
          </a:r>
          <a:endParaRPr lang="en-I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Well Documente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Great Community Suppor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Alive and Kicking</a:t>
          </a:r>
        </a:p>
      </dsp:txBody>
      <dsp:txXfrm>
        <a:off x="1158051" y="46700"/>
        <a:ext cx="2308940" cy="1744204"/>
      </dsp:txXfrm>
    </dsp:sp>
    <dsp:sp modelId="{43443604-5C8F-6B48-B29E-2E121DC84D02}">
      <dsp:nvSpPr>
        <dsp:cNvPr id="0" name=""/>
        <dsp:cNvSpPr/>
      </dsp:nvSpPr>
      <dsp:spPr>
        <a:xfrm>
          <a:off x="1116202" y="1790905"/>
          <a:ext cx="2392638" cy="7680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0" rIns="1524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General</a:t>
          </a:r>
          <a:endParaRPr lang="en-IN" sz="1200" kern="1200" dirty="0"/>
        </a:p>
      </dsp:txBody>
      <dsp:txXfrm>
        <a:off x="1116202" y="1790905"/>
        <a:ext cx="1684956" cy="768003"/>
      </dsp:txXfrm>
    </dsp:sp>
    <dsp:sp modelId="{22FAC088-1754-154B-9E61-CE82340E4780}">
      <dsp:nvSpPr>
        <dsp:cNvPr id="0" name=""/>
        <dsp:cNvSpPr/>
      </dsp:nvSpPr>
      <dsp:spPr>
        <a:xfrm>
          <a:off x="2868843" y="1912895"/>
          <a:ext cx="837423" cy="83742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912559-19FC-8449-98D2-922832410BAF}">
      <dsp:nvSpPr>
        <dsp:cNvPr id="0" name=""/>
        <dsp:cNvSpPr/>
      </dsp:nvSpPr>
      <dsp:spPr>
        <a:xfrm>
          <a:off x="3913733" y="4851"/>
          <a:ext cx="2392638" cy="178605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Supports multiple forms (Basic, Digest, OAuth, SAML, X509, JAAS)</a:t>
          </a:r>
          <a:endParaRPr lang="en-IN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upport for different auth stores (Database, LDAP)</a:t>
          </a:r>
          <a:endParaRPr lang="en-I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luggable password encoding mechanisms (Bcrypt, </a:t>
          </a:r>
          <a:r>
            <a:rPr lang="en-IN" sz="1200" kern="1200"/>
            <a:t>Pbkdf2)</a:t>
          </a:r>
        </a:p>
      </dsp:txBody>
      <dsp:txXfrm>
        <a:off x="3955582" y="46700"/>
        <a:ext cx="2308940" cy="1744204"/>
      </dsp:txXfrm>
    </dsp:sp>
    <dsp:sp modelId="{1A4CD6C4-09C1-4249-BAD9-BDA13013B36D}">
      <dsp:nvSpPr>
        <dsp:cNvPr id="0" name=""/>
        <dsp:cNvSpPr/>
      </dsp:nvSpPr>
      <dsp:spPr>
        <a:xfrm>
          <a:off x="3913733" y="1790905"/>
          <a:ext cx="2392638" cy="76800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0" rIns="1524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uthentication</a:t>
          </a:r>
          <a:endParaRPr lang="en-IN" sz="1200" kern="1200"/>
        </a:p>
      </dsp:txBody>
      <dsp:txXfrm>
        <a:off x="3913733" y="1790905"/>
        <a:ext cx="1684956" cy="768003"/>
      </dsp:txXfrm>
    </dsp:sp>
    <dsp:sp modelId="{E60E7041-B1BB-7D4A-99A9-7F58E7C646E0}">
      <dsp:nvSpPr>
        <dsp:cNvPr id="0" name=""/>
        <dsp:cNvSpPr/>
      </dsp:nvSpPr>
      <dsp:spPr>
        <a:xfrm>
          <a:off x="5666373" y="1912895"/>
          <a:ext cx="837423" cy="837423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4911E9-D956-1740-8384-D6F369D1EC17}">
      <dsp:nvSpPr>
        <dsp:cNvPr id="0" name=""/>
        <dsp:cNvSpPr/>
      </dsp:nvSpPr>
      <dsp:spPr>
        <a:xfrm>
          <a:off x="1116202" y="3165077"/>
          <a:ext cx="2392638" cy="178605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Fluent DSL style api to authorize Http Requests</a:t>
          </a:r>
          <a:endParaRPr lang="en-IN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Expression based access control</a:t>
          </a:r>
          <a:endParaRPr lang="en-IN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URL level security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Method Level security</a:t>
          </a:r>
          <a:endParaRPr lang="en-I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Domain Object Security (ACLs)</a:t>
          </a:r>
          <a:endParaRPr lang="en-IN" sz="1200" kern="1200"/>
        </a:p>
      </dsp:txBody>
      <dsp:txXfrm>
        <a:off x="1158051" y="3206926"/>
        <a:ext cx="2308940" cy="1744204"/>
      </dsp:txXfrm>
    </dsp:sp>
    <dsp:sp modelId="{A7C31812-A1C1-BC4C-A0FB-E30ABB310D2E}">
      <dsp:nvSpPr>
        <dsp:cNvPr id="0" name=""/>
        <dsp:cNvSpPr/>
      </dsp:nvSpPr>
      <dsp:spPr>
        <a:xfrm>
          <a:off x="1116202" y="4951131"/>
          <a:ext cx="2392638" cy="76800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0" rIns="1524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uthorization</a:t>
          </a:r>
          <a:endParaRPr lang="en-IN" sz="1200" kern="1200"/>
        </a:p>
      </dsp:txBody>
      <dsp:txXfrm>
        <a:off x="1116202" y="4951131"/>
        <a:ext cx="1684956" cy="768003"/>
      </dsp:txXfrm>
    </dsp:sp>
    <dsp:sp modelId="{554DAF9F-8686-0D4F-B0BB-9AAB4D7DD81D}">
      <dsp:nvSpPr>
        <dsp:cNvPr id="0" name=""/>
        <dsp:cNvSpPr/>
      </dsp:nvSpPr>
      <dsp:spPr>
        <a:xfrm>
          <a:off x="2868843" y="5073121"/>
          <a:ext cx="837423" cy="83742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D5B776-DD11-AA41-99E0-C894031180D7}">
      <dsp:nvSpPr>
        <dsp:cNvPr id="0" name=""/>
        <dsp:cNvSpPr/>
      </dsp:nvSpPr>
      <dsp:spPr>
        <a:xfrm>
          <a:off x="3913733" y="3165077"/>
          <a:ext cx="2392638" cy="178605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/>
            <a:t>Cross-Site-Request-Forgery: CSRF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Http Response Headers</a:t>
          </a:r>
          <a:endParaRPr lang="en-IN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Strict Transport Security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 err="1"/>
            <a:t>HTTPFirewall</a:t>
          </a:r>
          <a:endParaRPr lang="en-IN" sz="1200" kern="1200" dirty="0"/>
        </a:p>
      </dsp:txBody>
      <dsp:txXfrm>
        <a:off x="3955582" y="3206926"/>
        <a:ext cx="2308940" cy="1744204"/>
      </dsp:txXfrm>
    </dsp:sp>
    <dsp:sp modelId="{A1D96DB0-B1E9-4E47-A529-972C00383300}">
      <dsp:nvSpPr>
        <dsp:cNvPr id="0" name=""/>
        <dsp:cNvSpPr/>
      </dsp:nvSpPr>
      <dsp:spPr>
        <a:xfrm>
          <a:off x="3913733" y="4951131"/>
          <a:ext cx="2392638" cy="76800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0" rIns="1524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ommon Exploit Protection</a:t>
          </a:r>
          <a:endParaRPr lang="en-IN" sz="1200" kern="1200"/>
        </a:p>
      </dsp:txBody>
      <dsp:txXfrm>
        <a:off x="3913733" y="4951131"/>
        <a:ext cx="1684956" cy="768003"/>
      </dsp:txXfrm>
    </dsp:sp>
    <dsp:sp modelId="{9512B302-D3E6-5045-B7BC-6802F7D25C9C}">
      <dsp:nvSpPr>
        <dsp:cNvPr id="0" name=""/>
        <dsp:cNvSpPr/>
      </dsp:nvSpPr>
      <dsp:spPr>
        <a:xfrm>
          <a:off x="5666373" y="5073121"/>
          <a:ext cx="837423" cy="837423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55B406-E2A1-EE4C-83E9-30DC686A4904}">
      <dsp:nvSpPr>
        <dsp:cNvPr id="0" name=""/>
        <dsp:cNvSpPr/>
      </dsp:nvSpPr>
      <dsp:spPr>
        <a:xfrm>
          <a:off x="0" y="3736288"/>
          <a:ext cx="5181600" cy="61296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FilterSecurityInterceptor</a:t>
          </a:r>
          <a:endParaRPr lang="en-IN" sz="1900" kern="1200"/>
        </a:p>
      </dsp:txBody>
      <dsp:txXfrm>
        <a:off x="0" y="3736288"/>
        <a:ext cx="5181600" cy="612969"/>
      </dsp:txXfrm>
    </dsp:sp>
    <dsp:sp modelId="{A6D3B5F4-5728-A646-B391-71321DF70F9F}">
      <dsp:nvSpPr>
        <dsp:cNvPr id="0" name=""/>
        <dsp:cNvSpPr/>
      </dsp:nvSpPr>
      <dsp:spPr>
        <a:xfrm rot="10800000">
          <a:off x="0" y="2802736"/>
          <a:ext cx="5181600" cy="942746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ExceptionTranslationFilter</a:t>
          </a:r>
          <a:endParaRPr lang="en-IN" sz="1900" kern="1200"/>
        </a:p>
      </dsp:txBody>
      <dsp:txXfrm rot="10800000">
        <a:off x="0" y="2802736"/>
        <a:ext cx="5181600" cy="612568"/>
      </dsp:txXfrm>
    </dsp:sp>
    <dsp:sp modelId="{A520648E-B82F-754A-BB8F-EC0009C988E5}">
      <dsp:nvSpPr>
        <dsp:cNvPr id="0" name=""/>
        <dsp:cNvSpPr/>
      </dsp:nvSpPr>
      <dsp:spPr>
        <a:xfrm rot="10800000">
          <a:off x="0" y="1869184"/>
          <a:ext cx="5181600" cy="942746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AnonymousAuthenticationFilter</a:t>
          </a:r>
          <a:endParaRPr lang="en-IN" sz="1900" kern="1200"/>
        </a:p>
      </dsp:txBody>
      <dsp:txXfrm rot="10800000">
        <a:off x="0" y="1869184"/>
        <a:ext cx="5181600" cy="612568"/>
      </dsp:txXfrm>
    </dsp:sp>
    <dsp:sp modelId="{EF291D84-C98C-524C-A97E-9DB91C70770A}">
      <dsp:nvSpPr>
        <dsp:cNvPr id="0" name=""/>
        <dsp:cNvSpPr/>
      </dsp:nvSpPr>
      <dsp:spPr>
        <a:xfrm rot="10800000">
          <a:off x="0" y="935632"/>
          <a:ext cx="5181600" cy="942746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 err="1"/>
            <a:t>AuthenticationFilters</a:t>
          </a:r>
          <a:r>
            <a:rPr lang="en-GB" sz="1900" kern="1200" dirty="0"/>
            <a:t> (Basic, Form, etc)</a:t>
          </a:r>
          <a:endParaRPr lang="en-IN" sz="1900" kern="1200" dirty="0"/>
        </a:p>
      </dsp:txBody>
      <dsp:txXfrm rot="10800000">
        <a:off x="0" y="935632"/>
        <a:ext cx="5181600" cy="612568"/>
      </dsp:txXfrm>
    </dsp:sp>
    <dsp:sp modelId="{358C4510-826A-DE43-B60F-B81FA47381BC}">
      <dsp:nvSpPr>
        <dsp:cNvPr id="0" name=""/>
        <dsp:cNvSpPr/>
      </dsp:nvSpPr>
      <dsp:spPr>
        <a:xfrm rot="10800000">
          <a:off x="0" y="2080"/>
          <a:ext cx="5181600" cy="942746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 err="1"/>
            <a:t>SecurityContextPersistenceFilter</a:t>
          </a:r>
          <a:endParaRPr lang="en-IN" sz="1900" kern="1200" dirty="0"/>
        </a:p>
      </dsp:txBody>
      <dsp:txXfrm rot="10800000">
        <a:off x="0" y="2080"/>
        <a:ext cx="5181600" cy="61256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805215-FB81-BB49-8478-239BAA09B3E2}">
      <dsp:nvSpPr>
        <dsp:cNvPr id="0" name=""/>
        <dsp:cNvSpPr/>
      </dsp:nvSpPr>
      <dsp:spPr>
        <a:xfrm>
          <a:off x="415827" y="2175669"/>
          <a:ext cx="272234" cy="12968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117" y="0"/>
              </a:lnTo>
              <a:lnTo>
                <a:pt x="136117" y="1296849"/>
              </a:lnTo>
              <a:lnTo>
                <a:pt x="272234" y="129684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18816" y="2790965"/>
        <a:ext cx="66255" cy="66255"/>
      </dsp:txXfrm>
    </dsp:sp>
    <dsp:sp modelId="{9EB2547F-FF5C-1F4A-B534-A524B2D0FFDF}">
      <dsp:nvSpPr>
        <dsp:cNvPr id="0" name=""/>
        <dsp:cNvSpPr/>
      </dsp:nvSpPr>
      <dsp:spPr>
        <a:xfrm>
          <a:off x="415827" y="2175669"/>
          <a:ext cx="272234" cy="7781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117" y="0"/>
              </a:lnTo>
              <a:lnTo>
                <a:pt x="136117" y="778109"/>
              </a:lnTo>
              <a:lnTo>
                <a:pt x="272234" y="77810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31335" y="2544114"/>
        <a:ext cx="41217" cy="41217"/>
      </dsp:txXfrm>
    </dsp:sp>
    <dsp:sp modelId="{E4B671CE-BC98-D54B-A148-8F6568018234}">
      <dsp:nvSpPr>
        <dsp:cNvPr id="0" name=""/>
        <dsp:cNvSpPr/>
      </dsp:nvSpPr>
      <dsp:spPr>
        <a:xfrm>
          <a:off x="415827" y="2175669"/>
          <a:ext cx="272234" cy="259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117" y="0"/>
              </a:lnTo>
              <a:lnTo>
                <a:pt x="136117" y="259369"/>
              </a:lnTo>
              <a:lnTo>
                <a:pt x="272234" y="2593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42544" y="2295953"/>
        <a:ext cx="18800" cy="18800"/>
      </dsp:txXfrm>
    </dsp:sp>
    <dsp:sp modelId="{F39BABF1-7229-1245-B8B5-F3791BAEB7E1}">
      <dsp:nvSpPr>
        <dsp:cNvPr id="0" name=""/>
        <dsp:cNvSpPr/>
      </dsp:nvSpPr>
      <dsp:spPr>
        <a:xfrm>
          <a:off x="415827" y="1916299"/>
          <a:ext cx="272234" cy="259369"/>
        </a:xfrm>
        <a:custGeom>
          <a:avLst/>
          <a:gdLst/>
          <a:ahLst/>
          <a:cxnLst/>
          <a:rect l="0" t="0" r="0" b="0"/>
          <a:pathLst>
            <a:path>
              <a:moveTo>
                <a:pt x="0" y="259369"/>
              </a:moveTo>
              <a:lnTo>
                <a:pt x="136117" y="259369"/>
              </a:lnTo>
              <a:lnTo>
                <a:pt x="136117" y="0"/>
              </a:lnTo>
              <a:lnTo>
                <a:pt x="27223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42544" y="2036583"/>
        <a:ext cx="18800" cy="18800"/>
      </dsp:txXfrm>
    </dsp:sp>
    <dsp:sp modelId="{C601A018-6DEB-2048-B138-449B7D3D798B}">
      <dsp:nvSpPr>
        <dsp:cNvPr id="0" name=""/>
        <dsp:cNvSpPr/>
      </dsp:nvSpPr>
      <dsp:spPr>
        <a:xfrm>
          <a:off x="415827" y="1397559"/>
          <a:ext cx="272234" cy="778109"/>
        </a:xfrm>
        <a:custGeom>
          <a:avLst/>
          <a:gdLst/>
          <a:ahLst/>
          <a:cxnLst/>
          <a:rect l="0" t="0" r="0" b="0"/>
          <a:pathLst>
            <a:path>
              <a:moveTo>
                <a:pt x="0" y="778109"/>
              </a:moveTo>
              <a:lnTo>
                <a:pt x="136117" y="778109"/>
              </a:lnTo>
              <a:lnTo>
                <a:pt x="136117" y="0"/>
              </a:lnTo>
              <a:lnTo>
                <a:pt x="27223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31335" y="1766005"/>
        <a:ext cx="41217" cy="41217"/>
      </dsp:txXfrm>
    </dsp:sp>
    <dsp:sp modelId="{A81DEC10-536A-4346-88DB-A2C648D3E27E}">
      <dsp:nvSpPr>
        <dsp:cNvPr id="0" name=""/>
        <dsp:cNvSpPr/>
      </dsp:nvSpPr>
      <dsp:spPr>
        <a:xfrm>
          <a:off x="415827" y="878819"/>
          <a:ext cx="272234" cy="1296849"/>
        </a:xfrm>
        <a:custGeom>
          <a:avLst/>
          <a:gdLst/>
          <a:ahLst/>
          <a:cxnLst/>
          <a:rect l="0" t="0" r="0" b="0"/>
          <a:pathLst>
            <a:path>
              <a:moveTo>
                <a:pt x="0" y="1296849"/>
              </a:moveTo>
              <a:lnTo>
                <a:pt x="136117" y="1296849"/>
              </a:lnTo>
              <a:lnTo>
                <a:pt x="136117" y="0"/>
              </a:lnTo>
              <a:lnTo>
                <a:pt x="272234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18816" y="1494116"/>
        <a:ext cx="66255" cy="66255"/>
      </dsp:txXfrm>
    </dsp:sp>
    <dsp:sp modelId="{335194EB-E9FF-EF42-A841-1184DCC6E310}">
      <dsp:nvSpPr>
        <dsp:cNvPr id="0" name=""/>
        <dsp:cNvSpPr/>
      </dsp:nvSpPr>
      <dsp:spPr>
        <a:xfrm rot="16200000">
          <a:off x="-883752" y="1968173"/>
          <a:ext cx="2184167" cy="41499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500" kern="1200" dirty="0"/>
            <a:t>Http Security</a:t>
          </a:r>
        </a:p>
      </dsp:txBody>
      <dsp:txXfrm>
        <a:off x="-883752" y="1968173"/>
        <a:ext cx="2184167" cy="414991"/>
      </dsp:txXfrm>
    </dsp:sp>
    <dsp:sp modelId="{6EB3CF56-E71B-8040-9FEF-172C76CAADD2}">
      <dsp:nvSpPr>
        <dsp:cNvPr id="0" name=""/>
        <dsp:cNvSpPr/>
      </dsp:nvSpPr>
      <dsp:spPr>
        <a:xfrm>
          <a:off x="688062" y="671323"/>
          <a:ext cx="3989980" cy="414991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Filters</a:t>
          </a:r>
          <a:endParaRPr lang="en-IN" sz="1900" kern="1200" dirty="0"/>
        </a:p>
      </dsp:txBody>
      <dsp:txXfrm>
        <a:off x="688062" y="671323"/>
        <a:ext cx="3989980" cy="414991"/>
      </dsp:txXfrm>
    </dsp:sp>
    <dsp:sp modelId="{73998E5E-ED49-B948-8274-C7E1CF49DFC5}">
      <dsp:nvSpPr>
        <dsp:cNvPr id="0" name=""/>
        <dsp:cNvSpPr/>
      </dsp:nvSpPr>
      <dsp:spPr>
        <a:xfrm>
          <a:off x="688062" y="1190063"/>
          <a:ext cx="3989980" cy="414991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uthentication Strategy</a:t>
          </a:r>
          <a:endParaRPr lang="en-IN" sz="1900" kern="1200" dirty="0"/>
        </a:p>
      </dsp:txBody>
      <dsp:txXfrm>
        <a:off x="688062" y="1190063"/>
        <a:ext cx="3989980" cy="414991"/>
      </dsp:txXfrm>
    </dsp:sp>
    <dsp:sp modelId="{5989575B-C607-BE45-A585-C6E390902755}">
      <dsp:nvSpPr>
        <dsp:cNvPr id="0" name=""/>
        <dsp:cNvSpPr/>
      </dsp:nvSpPr>
      <dsp:spPr>
        <a:xfrm>
          <a:off x="688062" y="1708803"/>
          <a:ext cx="3989980" cy="414991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login/logout extensions</a:t>
          </a:r>
          <a:endParaRPr lang="en-IN" sz="1800" kern="1200"/>
        </a:p>
      </dsp:txBody>
      <dsp:txXfrm>
        <a:off x="688062" y="1708803"/>
        <a:ext cx="3989980" cy="414991"/>
      </dsp:txXfrm>
    </dsp:sp>
    <dsp:sp modelId="{CF80C7DB-0A76-BB47-8345-84E2C92ED69F}">
      <dsp:nvSpPr>
        <dsp:cNvPr id="0" name=""/>
        <dsp:cNvSpPr/>
      </dsp:nvSpPr>
      <dsp:spPr>
        <a:xfrm>
          <a:off x="688062" y="2227542"/>
          <a:ext cx="3989980" cy="414991"/>
        </a:xfrm>
        <a:prstGeom prst="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uthorization for Endpoint</a:t>
          </a:r>
          <a:endParaRPr lang="en-IN" sz="1800" kern="1200" dirty="0"/>
        </a:p>
      </dsp:txBody>
      <dsp:txXfrm>
        <a:off x="688062" y="2227542"/>
        <a:ext cx="3989980" cy="414991"/>
      </dsp:txXfrm>
    </dsp:sp>
    <dsp:sp modelId="{223A5AD9-DC34-A246-A6D8-FFA432D6D46D}">
      <dsp:nvSpPr>
        <dsp:cNvPr id="0" name=""/>
        <dsp:cNvSpPr/>
      </dsp:nvSpPr>
      <dsp:spPr>
        <a:xfrm>
          <a:off x="688062" y="2746282"/>
          <a:ext cx="3989980" cy="414991"/>
        </a:xfrm>
        <a:prstGeom prst="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mmon Threats Handling</a:t>
          </a:r>
          <a:endParaRPr lang="en-IN" sz="1700" kern="1200" dirty="0"/>
        </a:p>
      </dsp:txBody>
      <dsp:txXfrm>
        <a:off x="688062" y="2746282"/>
        <a:ext cx="3989980" cy="414991"/>
      </dsp:txXfrm>
    </dsp:sp>
    <dsp:sp modelId="{47C8577C-2B8A-0541-B0AB-A1033B7B2EEF}">
      <dsp:nvSpPr>
        <dsp:cNvPr id="0" name=""/>
        <dsp:cNvSpPr/>
      </dsp:nvSpPr>
      <dsp:spPr>
        <a:xfrm>
          <a:off x="688062" y="3265022"/>
          <a:ext cx="3989980" cy="414991"/>
        </a:xfrm>
        <a:prstGeom prst="rect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ustom Exception Handling</a:t>
          </a:r>
          <a:endParaRPr lang="en-IN" sz="1600" kern="1200" dirty="0"/>
        </a:p>
      </dsp:txBody>
      <dsp:txXfrm>
        <a:off x="688062" y="3265022"/>
        <a:ext cx="3989980" cy="41499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55B406-E2A1-EE4C-83E9-30DC686A4904}">
      <dsp:nvSpPr>
        <dsp:cNvPr id="0" name=""/>
        <dsp:cNvSpPr/>
      </dsp:nvSpPr>
      <dsp:spPr>
        <a:xfrm>
          <a:off x="0" y="2359546"/>
          <a:ext cx="3626922" cy="387103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FilterSecurityInterceptor</a:t>
          </a:r>
          <a:endParaRPr lang="en-IN" sz="1300" kern="1200"/>
        </a:p>
      </dsp:txBody>
      <dsp:txXfrm>
        <a:off x="0" y="2359546"/>
        <a:ext cx="3626922" cy="387103"/>
      </dsp:txXfrm>
    </dsp:sp>
    <dsp:sp modelId="{A6D3B5F4-5728-A646-B391-71321DF70F9F}">
      <dsp:nvSpPr>
        <dsp:cNvPr id="0" name=""/>
        <dsp:cNvSpPr/>
      </dsp:nvSpPr>
      <dsp:spPr>
        <a:xfrm rot="10800000">
          <a:off x="0" y="1769988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ExceptionTranslationFilter</a:t>
          </a:r>
          <a:endParaRPr lang="en-IN" sz="1300" kern="1200"/>
        </a:p>
      </dsp:txBody>
      <dsp:txXfrm rot="10800000">
        <a:off x="0" y="1769988"/>
        <a:ext cx="3626922" cy="386850"/>
      </dsp:txXfrm>
    </dsp:sp>
    <dsp:sp modelId="{A520648E-B82F-754A-BB8F-EC0009C988E5}">
      <dsp:nvSpPr>
        <dsp:cNvPr id="0" name=""/>
        <dsp:cNvSpPr/>
      </dsp:nvSpPr>
      <dsp:spPr>
        <a:xfrm rot="10800000">
          <a:off x="0" y="1180429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AnonymousAuthenticationFilter</a:t>
          </a:r>
          <a:endParaRPr lang="en-IN" sz="1300" kern="1200"/>
        </a:p>
      </dsp:txBody>
      <dsp:txXfrm rot="10800000">
        <a:off x="0" y="1180429"/>
        <a:ext cx="3626922" cy="386850"/>
      </dsp:txXfrm>
    </dsp:sp>
    <dsp:sp modelId="{EF291D84-C98C-524C-A97E-9DB91C70770A}">
      <dsp:nvSpPr>
        <dsp:cNvPr id="0" name=""/>
        <dsp:cNvSpPr/>
      </dsp:nvSpPr>
      <dsp:spPr>
        <a:xfrm rot="10800000">
          <a:off x="0" y="590871"/>
          <a:ext cx="3626922" cy="595364"/>
        </a:xfrm>
        <a:prstGeom prst="upArrowCallout">
          <a:avLst/>
        </a:prstGeom>
        <a:solidFill>
          <a:schemeClr val="accent4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 err="1"/>
            <a:t>AuthenticationFilters</a:t>
          </a:r>
          <a:r>
            <a:rPr lang="en-GB" sz="1300" kern="1200" dirty="0"/>
            <a:t> (Basic, Form, etc)</a:t>
          </a:r>
          <a:endParaRPr lang="en-IN" sz="1300" kern="1200" dirty="0"/>
        </a:p>
      </dsp:txBody>
      <dsp:txXfrm rot="10800000">
        <a:off x="0" y="590871"/>
        <a:ext cx="3626922" cy="386850"/>
      </dsp:txXfrm>
    </dsp:sp>
    <dsp:sp modelId="{358C4510-826A-DE43-B60F-B81FA47381BC}">
      <dsp:nvSpPr>
        <dsp:cNvPr id="0" name=""/>
        <dsp:cNvSpPr/>
      </dsp:nvSpPr>
      <dsp:spPr>
        <a:xfrm rot="10800000">
          <a:off x="0" y="1313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 err="1"/>
            <a:t>SecurityContextPersistenceFilter</a:t>
          </a:r>
          <a:endParaRPr lang="en-IN" sz="1300" kern="1200" dirty="0"/>
        </a:p>
      </dsp:txBody>
      <dsp:txXfrm rot="10800000">
        <a:off x="0" y="1313"/>
        <a:ext cx="3626922" cy="38685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C9F783-FBD0-7943-AD91-EE9980DEE4FF}">
      <dsp:nvSpPr>
        <dsp:cNvPr id="0" name=""/>
        <dsp:cNvSpPr/>
      </dsp:nvSpPr>
      <dsp:spPr>
        <a:xfrm>
          <a:off x="0" y="0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4D9315-9EE7-8847-B4D8-779037D767B7}">
      <dsp:nvSpPr>
        <dsp:cNvPr id="0" name=""/>
        <dsp:cNvSpPr/>
      </dsp:nvSpPr>
      <dsp:spPr>
        <a:xfrm>
          <a:off x="0" y="0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1. Request arrives at the </a:t>
          </a:r>
          <a:r>
            <a:rPr lang="en-US" sz="1600" kern="1200" dirty="0" err="1"/>
            <a:t>AuthenticationFilter</a:t>
          </a:r>
          <a:endParaRPr lang="en-IN" sz="1600" kern="1200" dirty="0"/>
        </a:p>
      </dsp:txBody>
      <dsp:txXfrm>
        <a:off x="0" y="0"/>
        <a:ext cx="7974413" cy="374233"/>
      </dsp:txXfrm>
    </dsp:sp>
    <dsp:sp modelId="{B4C77371-AADF-0945-9D2C-701E21DEB211}">
      <dsp:nvSpPr>
        <dsp:cNvPr id="0" name=""/>
        <dsp:cNvSpPr/>
      </dsp:nvSpPr>
      <dsp:spPr>
        <a:xfrm>
          <a:off x="0" y="374233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448188-9B99-1B48-928D-C2293E5135F4}">
      <dsp:nvSpPr>
        <dsp:cNvPr id="0" name=""/>
        <dsp:cNvSpPr/>
      </dsp:nvSpPr>
      <dsp:spPr>
        <a:xfrm>
          <a:off x="0" y="374233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2. </a:t>
          </a:r>
          <a:r>
            <a:rPr lang="en-US" sz="1600" kern="1200" dirty="0" err="1"/>
            <a:t>AuthenticationFilter</a:t>
          </a:r>
          <a:r>
            <a:rPr lang="en-US" sz="1600" kern="1200" dirty="0"/>
            <a:t> creates an </a:t>
          </a:r>
          <a:r>
            <a:rPr lang="en-US" sz="1600" kern="1200" dirty="0" err="1"/>
            <a:t>AuthenticationToken</a:t>
          </a:r>
          <a:endParaRPr lang="en-IN" sz="1600" kern="1200" dirty="0"/>
        </a:p>
      </dsp:txBody>
      <dsp:txXfrm>
        <a:off x="0" y="374233"/>
        <a:ext cx="7974413" cy="374233"/>
      </dsp:txXfrm>
    </dsp:sp>
    <dsp:sp modelId="{17986BC5-FE0A-F34D-B03A-8D9E9016AF2B}">
      <dsp:nvSpPr>
        <dsp:cNvPr id="0" name=""/>
        <dsp:cNvSpPr/>
      </dsp:nvSpPr>
      <dsp:spPr>
        <a:xfrm>
          <a:off x="0" y="748467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038757-F688-EA4F-9533-EE17B2C978DC}">
      <dsp:nvSpPr>
        <dsp:cNvPr id="0" name=""/>
        <dsp:cNvSpPr/>
      </dsp:nvSpPr>
      <dsp:spPr>
        <a:xfrm>
          <a:off x="0" y="748467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4. </a:t>
          </a:r>
          <a:r>
            <a:rPr lang="en-US" sz="1600" kern="1200" dirty="0" err="1"/>
            <a:t>AuthenticationToken</a:t>
          </a:r>
          <a:r>
            <a:rPr lang="en-US" sz="1600" kern="1200" dirty="0"/>
            <a:t> is then handed over to </a:t>
          </a:r>
          <a:r>
            <a:rPr lang="en-US" sz="1600" kern="1200" dirty="0" err="1"/>
            <a:t>AuthenticationManager</a:t>
          </a:r>
          <a:endParaRPr lang="en-IN" sz="1600" kern="1200" dirty="0"/>
        </a:p>
      </dsp:txBody>
      <dsp:txXfrm>
        <a:off x="0" y="748467"/>
        <a:ext cx="7974413" cy="374233"/>
      </dsp:txXfrm>
    </dsp:sp>
    <dsp:sp modelId="{C3F5A2B7-D507-A042-BCA0-B04F578F14BD}">
      <dsp:nvSpPr>
        <dsp:cNvPr id="0" name=""/>
        <dsp:cNvSpPr/>
      </dsp:nvSpPr>
      <dsp:spPr>
        <a:xfrm>
          <a:off x="0" y="1122700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5D1A06-288E-5C4B-B38C-FAD4F1F92AA5}">
      <dsp:nvSpPr>
        <dsp:cNvPr id="0" name=""/>
        <dsp:cNvSpPr/>
      </dsp:nvSpPr>
      <dsp:spPr>
        <a:xfrm>
          <a:off x="0" y="1122700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5. </a:t>
          </a:r>
          <a:r>
            <a:rPr lang="en-US" sz="1600" kern="1200" dirty="0" err="1"/>
            <a:t>AuthenticationManager</a:t>
          </a:r>
          <a:r>
            <a:rPr lang="en-US" sz="1600" kern="1200" dirty="0"/>
            <a:t> selects the appropriate </a:t>
          </a:r>
          <a:r>
            <a:rPr lang="en-US" sz="1600" kern="1200" dirty="0" err="1"/>
            <a:t>AuthenticationProvider</a:t>
          </a:r>
          <a:endParaRPr lang="en-IN" sz="1600" kern="1200" dirty="0"/>
        </a:p>
      </dsp:txBody>
      <dsp:txXfrm>
        <a:off x="0" y="1122700"/>
        <a:ext cx="7974413" cy="374233"/>
      </dsp:txXfrm>
    </dsp:sp>
    <dsp:sp modelId="{FD16C3E8-894C-EF48-B894-83AE2066C444}">
      <dsp:nvSpPr>
        <dsp:cNvPr id="0" name=""/>
        <dsp:cNvSpPr/>
      </dsp:nvSpPr>
      <dsp:spPr>
        <a:xfrm>
          <a:off x="0" y="1496934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8A3212-D22F-8944-8A47-4533111C1515}">
      <dsp:nvSpPr>
        <dsp:cNvPr id="0" name=""/>
        <dsp:cNvSpPr/>
      </dsp:nvSpPr>
      <dsp:spPr>
        <a:xfrm>
          <a:off x="0" y="1496934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6. </a:t>
          </a:r>
          <a:r>
            <a:rPr lang="en-US" sz="1600" kern="1200" dirty="0" err="1"/>
            <a:t>AuthenticationProvider</a:t>
          </a:r>
          <a:r>
            <a:rPr lang="en-US" sz="1600" kern="1200" dirty="0"/>
            <a:t> calls </a:t>
          </a:r>
          <a:r>
            <a:rPr lang="en-US" sz="1600" kern="1200" dirty="0" err="1"/>
            <a:t>UserDetailsService</a:t>
          </a:r>
          <a:r>
            <a:rPr lang="en-US" sz="1600" kern="1200" dirty="0"/>
            <a:t> to load </a:t>
          </a:r>
          <a:r>
            <a:rPr lang="en-US" sz="1600" kern="1200" dirty="0" err="1"/>
            <a:t>UserDetails</a:t>
          </a:r>
          <a:endParaRPr lang="en-IN" sz="1600" kern="1200" dirty="0"/>
        </a:p>
      </dsp:txBody>
      <dsp:txXfrm>
        <a:off x="0" y="1496934"/>
        <a:ext cx="7974413" cy="374233"/>
      </dsp:txXfrm>
    </dsp:sp>
    <dsp:sp modelId="{AD1A3F38-22D8-C343-91E4-ECB91E029AC5}">
      <dsp:nvSpPr>
        <dsp:cNvPr id="0" name=""/>
        <dsp:cNvSpPr/>
      </dsp:nvSpPr>
      <dsp:spPr>
        <a:xfrm>
          <a:off x="0" y="1871168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2CA8E5-E31C-B047-AB5B-5B289DE3B03A}">
      <dsp:nvSpPr>
        <dsp:cNvPr id="0" name=""/>
        <dsp:cNvSpPr/>
      </dsp:nvSpPr>
      <dsp:spPr>
        <a:xfrm>
          <a:off x="0" y="1871168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7. </a:t>
          </a:r>
          <a:r>
            <a:rPr lang="en-US" sz="1600" kern="1200" dirty="0" err="1"/>
            <a:t>AuthenticationProvider</a:t>
          </a:r>
          <a:r>
            <a:rPr lang="en-US" sz="1600" kern="1200" dirty="0"/>
            <a:t> compares the credentials using </a:t>
          </a:r>
          <a:r>
            <a:rPr lang="en-US" sz="1600" kern="1200" dirty="0" err="1"/>
            <a:t>PasswordEncoder</a:t>
          </a:r>
          <a:endParaRPr lang="en-IN" sz="1600" kern="1200" dirty="0"/>
        </a:p>
      </dsp:txBody>
      <dsp:txXfrm>
        <a:off x="0" y="1871168"/>
        <a:ext cx="7974413" cy="374233"/>
      </dsp:txXfrm>
    </dsp:sp>
    <dsp:sp modelId="{537E84F6-16FD-6242-ABF4-2D0511712043}">
      <dsp:nvSpPr>
        <dsp:cNvPr id="0" name=""/>
        <dsp:cNvSpPr/>
      </dsp:nvSpPr>
      <dsp:spPr>
        <a:xfrm>
          <a:off x="0" y="2245401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7DE988-7AC9-EB49-86AC-A9FE7030900B}">
      <dsp:nvSpPr>
        <dsp:cNvPr id="0" name=""/>
        <dsp:cNvSpPr/>
      </dsp:nvSpPr>
      <dsp:spPr>
        <a:xfrm>
          <a:off x="0" y="2245401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9. </a:t>
          </a:r>
          <a:r>
            <a:rPr lang="en-US" sz="1600" kern="1200" dirty="0" err="1"/>
            <a:t>AuthenticationToken</a:t>
          </a:r>
          <a:r>
            <a:rPr lang="en-US" sz="1600" kern="1200" dirty="0"/>
            <a:t> is returned to the </a:t>
          </a:r>
          <a:r>
            <a:rPr lang="en-US" sz="1600" kern="1200" dirty="0" err="1"/>
            <a:t>AuthenticationFilter</a:t>
          </a:r>
          <a:endParaRPr lang="en-IN" sz="1600" kern="1200" dirty="0"/>
        </a:p>
      </dsp:txBody>
      <dsp:txXfrm>
        <a:off x="0" y="2245401"/>
        <a:ext cx="7974413" cy="374233"/>
      </dsp:txXfrm>
    </dsp:sp>
    <dsp:sp modelId="{0E2BD839-C964-E744-BD9D-A917F9F8E449}">
      <dsp:nvSpPr>
        <dsp:cNvPr id="0" name=""/>
        <dsp:cNvSpPr/>
      </dsp:nvSpPr>
      <dsp:spPr>
        <a:xfrm>
          <a:off x="0" y="2619635"/>
          <a:ext cx="79744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ED1BAD-5962-3F41-92EC-6DB610C30840}">
      <dsp:nvSpPr>
        <dsp:cNvPr id="0" name=""/>
        <dsp:cNvSpPr/>
      </dsp:nvSpPr>
      <dsp:spPr>
        <a:xfrm>
          <a:off x="0" y="2619635"/>
          <a:ext cx="7974413" cy="37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10. </a:t>
          </a:r>
          <a:r>
            <a:rPr lang="en-US" sz="1600" kern="1200" dirty="0" err="1"/>
            <a:t>AuthenticationFilter</a:t>
          </a:r>
          <a:r>
            <a:rPr lang="en-US" sz="1600" kern="1200" dirty="0"/>
            <a:t> sets the </a:t>
          </a:r>
          <a:r>
            <a:rPr lang="en-US" sz="1600" kern="1200" dirty="0" err="1"/>
            <a:t>AuthenticationToken</a:t>
          </a:r>
          <a:r>
            <a:rPr lang="en-US" sz="1600" kern="1200" dirty="0"/>
            <a:t> in the </a:t>
          </a:r>
          <a:r>
            <a:rPr lang="en-US" sz="1600" kern="1200" dirty="0" err="1"/>
            <a:t>SecurityContext</a:t>
          </a:r>
          <a:endParaRPr lang="en-IN" sz="1600" kern="1200" dirty="0"/>
        </a:p>
      </dsp:txBody>
      <dsp:txXfrm>
        <a:off x="0" y="2619635"/>
        <a:ext cx="7974413" cy="37423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F1D8A6-58F0-D943-A111-E1B601B29CA1}">
      <dsp:nvSpPr>
        <dsp:cNvPr id="0" name=""/>
        <dsp:cNvSpPr/>
      </dsp:nvSpPr>
      <dsp:spPr>
        <a:xfrm rot="16200000">
          <a:off x="-1182847" y="1185622"/>
          <a:ext cx="5040159" cy="2668915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7324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kern="1200" dirty="0"/>
            <a:t>Basic Authentication with Custom </a:t>
          </a:r>
          <a:r>
            <a:rPr lang="en-US" sz="2500" b="0" kern="1200" dirty="0" err="1"/>
            <a:t>UserDetails</a:t>
          </a:r>
          <a:endParaRPr lang="en-IN" sz="2500" kern="1200" dirty="0"/>
        </a:p>
      </dsp:txBody>
      <dsp:txXfrm rot="5400000">
        <a:off x="2775" y="1008032"/>
        <a:ext cx="2668915" cy="3024095"/>
      </dsp:txXfrm>
    </dsp:sp>
    <dsp:sp modelId="{1A40F8E5-DB30-774C-9F51-64583E7CA8A5}">
      <dsp:nvSpPr>
        <dsp:cNvPr id="0" name=""/>
        <dsp:cNvSpPr/>
      </dsp:nvSpPr>
      <dsp:spPr>
        <a:xfrm rot="16200000">
          <a:off x="1686236" y="1185622"/>
          <a:ext cx="5040159" cy="2668915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7324" bIns="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kern="1200"/>
            <a:t>Fully customized Authentication Strategy</a:t>
          </a:r>
          <a:endParaRPr lang="en-IN" sz="2500" kern="1200"/>
        </a:p>
      </dsp:txBody>
      <dsp:txXfrm rot="5400000">
        <a:off x="2871858" y="1008032"/>
        <a:ext cx="2668915" cy="302409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55B406-E2A1-EE4C-83E9-30DC686A4904}">
      <dsp:nvSpPr>
        <dsp:cNvPr id="0" name=""/>
        <dsp:cNvSpPr/>
      </dsp:nvSpPr>
      <dsp:spPr>
        <a:xfrm>
          <a:off x="0" y="2359546"/>
          <a:ext cx="3626922" cy="387103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FilterSecurityInterceptor</a:t>
          </a:r>
          <a:endParaRPr lang="en-IN" sz="1300" kern="1200"/>
        </a:p>
      </dsp:txBody>
      <dsp:txXfrm>
        <a:off x="0" y="2359546"/>
        <a:ext cx="3626922" cy="387103"/>
      </dsp:txXfrm>
    </dsp:sp>
    <dsp:sp modelId="{A6D3B5F4-5728-A646-B391-71321DF70F9F}">
      <dsp:nvSpPr>
        <dsp:cNvPr id="0" name=""/>
        <dsp:cNvSpPr/>
      </dsp:nvSpPr>
      <dsp:spPr>
        <a:xfrm rot="10800000">
          <a:off x="0" y="1769988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ExceptionTranslationFilter</a:t>
          </a:r>
          <a:endParaRPr lang="en-IN" sz="1300" kern="1200"/>
        </a:p>
      </dsp:txBody>
      <dsp:txXfrm rot="10800000">
        <a:off x="0" y="1769988"/>
        <a:ext cx="3626922" cy="386850"/>
      </dsp:txXfrm>
    </dsp:sp>
    <dsp:sp modelId="{A520648E-B82F-754A-BB8F-EC0009C988E5}">
      <dsp:nvSpPr>
        <dsp:cNvPr id="0" name=""/>
        <dsp:cNvSpPr/>
      </dsp:nvSpPr>
      <dsp:spPr>
        <a:xfrm rot="10800000">
          <a:off x="0" y="1180429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AnonymousAuthenticationFilter</a:t>
          </a:r>
          <a:endParaRPr lang="en-IN" sz="1300" kern="1200"/>
        </a:p>
      </dsp:txBody>
      <dsp:txXfrm rot="10800000">
        <a:off x="0" y="1180429"/>
        <a:ext cx="3626922" cy="386850"/>
      </dsp:txXfrm>
    </dsp:sp>
    <dsp:sp modelId="{EF291D84-C98C-524C-A97E-9DB91C70770A}">
      <dsp:nvSpPr>
        <dsp:cNvPr id="0" name=""/>
        <dsp:cNvSpPr/>
      </dsp:nvSpPr>
      <dsp:spPr>
        <a:xfrm rot="10800000">
          <a:off x="0" y="590871"/>
          <a:ext cx="3626922" cy="595364"/>
        </a:xfrm>
        <a:prstGeom prst="upArrowCallout">
          <a:avLst/>
        </a:prstGeom>
        <a:solidFill>
          <a:schemeClr val="accent1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 err="1"/>
            <a:t>AuthenticationFilters</a:t>
          </a:r>
          <a:r>
            <a:rPr lang="en-GB" sz="1300" kern="1200" dirty="0"/>
            <a:t> (Basic, Form, etc)</a:t>
          </a:r>
          <a:endParaRPr lang="en-IN" sz="1300" kern="1200" dirty="0"/>
        </a:p>
      </dsp:txBody>
      <dsp:txXfrm rot="10800000">
        <a:off x="0" y="590871"/>
        <a:ext cx="3626922" cy="386850"/>
      </dsp:txXfrm>
    </dsp:sp>
    <dsp:sp modelId="{358C4510-826A-DE43-B60F-B81FA47381BC}">
      <dsp:nvSpPr>
        <dsp:cNvPr id="0" name=""/>
        <dsp:cNvSpPr/>
      </dsp:nvSpPr>
      <dsp:spPr>
        <a:xfrm rot="10800000">
          <a:off x="0" y="1313"/>
          <a:ext cx="3626922" cy="595364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 err="1"/>
            <a:t>SecurityContextPersistenceFilter</a:t>
          </a:r>
          <a:endParaRPr lang="en-IN" sz="1300" kern="1200" dirty="0"/>
        </a:p>
      </dsp:txBody>
      <dsp:txXfrm rot="10800000">
        <a:off x="0" y="1313"/>
        <a:ext cx="3626922" cy="38685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692C7C-A5D4-644A-8402-B90F462C1F40}">
      <dsp:nvSpPr>
        <dsp:cNvPr id="0" name=""/>
        <dsp:cNvSpPr/>
      </dsp:nvSpPr>
      <dsp:spPr>
        <a:xfrm>
          <a:off x="0" y="1007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52CBA2-4E62-854F-BF59-BC5FFCC9AD0C}">
      <dsp:nvSpPr>
        <dsp:cNvPr id="0" name=""/>
        <dsp:cNvSpPr/>
      </dsp:nvSpPr>
      <dsp:spPr>
        <a:xfrm>
          <a:off x="0" y="1007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FilterSecurityInterceptor</a:t>
          </a:r>
          <a:r>
            <a:rPr lang="en-US" sz="1200" kern="1200" dirty="0"/>
            <a:t> obtains the “Security Metadata” by matching on the current request</a:t>
          </a:r>
          <a:endParaRPr lang="en-IN" sz="1200" kern="1200" dirty="0"/>
        </a:p>
      </dsp:txBody>
      <dsp:txXfrm>
        <a:off x="0" y="1007"/>
        <a:ext cx="10515600" cy="343589"/>
      </dsp:txXfrm>
    </dsp:sp>
    <dsp:sp modelId="{757096BA-F80B-1142-AA90-97B16DB4985F}">
      <dsp:nvSpPr>
        <dsp:cNvPr id="0" name=""/>
        <dsp:cNvSpPr/>
      </dsp:nvSpPr>
      <dsp:spPr>
        <a:xfrm>
          <a:off x="0" y="344597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680F1C-E7A0-FC44-89E0-FCC75C5C0E48}">
      <dsp:nvSpPr>
        <dsp:cNvPr id="0" name=""/>
        <dsp:cNvSpPr/>
      </dsp:nvSpPr>
      <dsp:spPr>
        <a:xfrm>
          <a:off x="0" y="344597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FilterSecurityInterceptor gets the AuthenticationToken</a:t>
          </a:r>
          <a:endParaRPr lang="en-IN" sz="1200" kern="1200"/>
        </a:p>
      </dsp:txBody>
      <dsp:txXfrm>
        <a:off x="0" y="344597"/>
        <a:ext cx="10515600" cy="343589"/>
      </dsp:txXfrm>
    </dsp:sp>
    <dsp:sp modelId="{E88FABDD-95B7-1F42-8040-20736BCC89F0}">
      <dsp:nvSpPr>
        <dsp:cNvPr id="0" name=""/>
        <dsp:cNvSpPr/>
      </dsp:nvSpPr>
      <dsp:spPr>
        <a:xfrm>
          <a:off x="0" y="688186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1D6600-C30C-4749-9ACA-5EA239E5708B}">
      <dsp:nvSpPr>
        <dsp:cNvPr id="0" name=""/>
        <dsp:cNvSpPr/>
      </dsp:nvSpPr>
      <dsp:spPr>
        <a:xfrm>
          <a:off x="0" y="688186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The AuthenticationToken &amp; Security Metadata is passed to the AccessDecisionManager</a:t>
          </a:r>
          <a:endParaRPr lang="en-IN" sz="1200" kern="1200"/>
        </a:p>
      </dsp:txBody>
      <dsp:txXfrm>
        <a:off x="0" y="688186"/>
        <a:ext cx="10515600" cy="343589"/>
      </dsp:txXfrm>
    </dsp:sp>
    <dsp:sp modelId="{D4AEDA0D-F9A3-2C42-A385-194D62573A0E}">
      <dsp:nvSpPr>
        <dsp:cNvPr id="0" name=""/>
        <dsp:cNvSpPr/>
      </dsp:nvSpPr>
      <dsp:spPr>
        <a:xfrm>
          <a:off x="0" y="1031776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D4E9EB-F072-9B47-B43F-D1337B1E8284}">
      <dsp:nvSpPr>
        <dsp:cNvPr id="0" name=""/>
        <dsp:cNvSpPr/>
      </dsp:nvSpPr>
      <dsp:spPr>
        <a:xfrm>
          <a:off x="0" y="1031776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ccessDecisionManager delegates to the resp. AccessDecisionVoter for votes</a:t>
          </a:r>
          <a:endParaRPr lang="en-IN" sz="1200" kern="1200"/>
        </a:p>
      </dsp:txBody>
      <dsp:txXfrm>
        <a:off x="0" y="1031776"/>
        <a:ext cx="10515600" cy="343589"/>
      </dsp:txXfrm>
    </dsp:sp>
    <dsp:sp modelId="{FECA7A30-73A1-BC4D-AEC9-B54B2AF25A2F}">
      <dsp:nvSpPr>
        <dsp:cNvPr id="0" name=""/>
        <dsp:cNvSpPr/>
      </dsp:nvSpPr>
      <dsp:spPr>
        <a:xfrm>
          <a:off x="0" y="1375366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51D4F1-25B8-474F-B39D-E28852E5EAA1}">
      <dsp:nvSpPr>
        <dsp:cNvPr id="0" name=""/>
        <dsp:cNvSpPr/>
      </dsp:nvSpPr>
      <dsp:spPr>
        <a:xfrm>
          <a:off x="0" y="1375366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ccessDecisionManager post collection of votes evaluates the final result</a:t>
          </a:r>
          <a:endParaRPr lang="en-IN" sz="1200" kern="1200"/>
        </a:p>
      </dsp:txBody>
      <dsp:txXfrm>
        <a:off x="0" y="1375366"/>
        <a:ext cx="10515600" cy="343589"/>
      </dsp:txXfrm>
    </dsp:sp>
    <dsp:sp modelId="{3C146466-2122-804E-BCFA-529912CEC632}">
      <dsp:nvSpPr>
        <dsp:cNvPr id="0" name=""/>
        <dsp:cNvSpPr/>
      </dsp:nvSpPr>
      <dsp:spPr>
        <a:xfrm>
          <a:off x="0" y="1718955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6CD666-69A5-5C42-B60D-493FD2FD1403}">
      <dsp:nvSpPr>
        <dsp:cNvPr id="0" name=""/>
        <dsp:cNvSpPr/>
      </dsp:nvSpPr>
      <dsp:spPr>
        <a:xfrm>
          <a:off x="0" y="1718955"/>
          <a:ext cx="10515600" cy="343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Incase of failure AccessDecisionManager will raise an AccessDeniedException which will be handled by ExceptionTranslationFilter</a:t>
          </a:r>
          <a:endParaRPr lang="en-IN" sz="1200" kern="1200"/>
        </a:p>
      </dsp:txBody>
      <dsp:txXfrm>
        <a:off x="0" y="1718955"/>
        <a:ext cx="10515600" cy="3435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t>16/11/22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16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6667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35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33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5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34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1.emf"/><Relationship Id="rId7" Type="http://schemas.openxmlformats.org/officeDocument/2006/relationships/image" Target="../media/image37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36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38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1.emf"/><Relationship Id="rId7" Type="http://schemas.openxmlformats.org/officeDocument/2006/relationships/image" Target="../media/image37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36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3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0462" y="1423036"/>
            <a:ext cx="5951537" cy="4183090"/>
          </a:xfrm>
          <a:prstGeom prst="rect">
            <a:avLst/>
          </a:prstGeom>
        </p:spPr>
      </p:pic>
      <p:sp>
        <p:nvSpPr>
          <p:cNvPr id="17" name="Freeform 16"/>
          <p:cNvSpPr>
            <a:spLocks/>
          </p:cNvSpPr>
          <p:nvPr/>
        </p:nvSpPr>
        <p:spPr bwMode="auto">
          <a:xfrm rot="10800000" flipH="1">
            <a:off x="6240462" y="4064176"/>
            <a:ext cx="5951537" cy="2793824"/>
          </a:xfrm>
          <a:custGeom>
            <a:avLst/>
            <a:gdLst>
              <a:gd name="connsiteX0" fmla="*/ 5951537 w 5951537"/>
              <a:gd name="connsiteY0" fmla="*/ 2793824 h 2793824"/>
              <a:gd name="connsiteX1" fmla="*/ 5951537 w 5951537"/>
              <a:gd name="connsiteY1" fmla="*/ 372819 h 2793824"/>
              <a:gd name="connsiteX2" fmla="*/ 5951537 w 5951537"/>
              <a:gd name="connsiteY2" fmla="*/ 0 h 2793824"/>
              <a:gd name="connsiteX3" fmla="*/ 0 w 5951537"/>
              <a:gd name="connsiteY3" fmla="*/ 0 h 2793824"/>
              <a:gd name="connsiteX4" fmla="*/ 0 w 5951537"/>
              <a:gd name="connsiteY4" fmla="*/ 171206 h 2793824"/>
              <a:gd name="connsiteX5" fmla="*/ 0 w 5951537"/>
              <a:gd name="connsiteY5" fmla="*/ 1526520 h 2793824"/>
              <a:gd name="connsiteX6" fmla="*/ 2793578 w 5951537"/>
              <a:gd name="connsiteY6" fmla="*/ 2195656 h 2793824"/>
              <a:gd name="connsiteX7" fmla="*/ 5951537 w 5951537"/>
              <a:gd name="connsiteY7" fmla="*/ 2793824 h 2793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51537" h="2793824">
                <a:moveTo>
                  <a:pt x="5951537" y="2793824"/>
                </a:moveTo>
                <a:cubicBezTo>
                  <a:pt x="5951537" y="1846515"/>
                  <a:pt x="5951537" y="1047222"/>
                  <a:pt x="5951537" y="372819"/>
                </a:cubicBezTo>
                <a:lnTo>
                  <a:pt x="5951537" y="0"/>
                </a:lnTo>
                <a:lnTo>
                  <a:pt x="0" y="0"/>
                </a:lnTo>
                <a:lnTo>
                  <a:pt x="0" y="171206"/>
                </a:lnTo>
                <a:cubicBezTo>
                  <a:pt x="0" y="1526520"/>
                  <a:pt x="0" y="1526520"/>
                  <a:pt x="0" y="1526520"/>
                </a:cubicBezTo>
                <a:cubicBezTo>
                  <a:pt x="840098" y="1759704"/>
                  <a:pt x="1771291" y="1982749"/>
                  <a:pt x="2793578" y="2195656"/>
                </a:cubicBezTo>
                <a:cubicBezTo>
                  <a:pt x="3694406" y="2388286"/>
                  <a:pt x="5870564" y="2783685"/>
                  <a:pt x="5951537" y="279382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987" y="1413990"/>
            <a:ext cx="5543551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cxnSp>
        <p:nvCxnSpPr>
          <p:cNvPr id="23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5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6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398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/>
          <p:cNvSpPr/>
          <p:nvPr userDrawn="1"/>
        </p:nvSpPr>
        <p:spPr>
          <a:xfrm>
            <a:off x="9337692" y="-26986"/>
            <a:ext cx="2854308" cy="5795285"/>
          </a:xfrm>
          <a:custGeom>
            <a:avLst/>
            <a:gdLst>
              <a:gd name="connsiteX0" fmla="*/ 0 w 2854308"/>
              <a:gd name="connsiteY0" fmla="*/ 0 h 5795285"/>
              <a:gd name="connsiteX1" fmla="*/ 2854308 w 2854308"/>
              <a:gd name="connsiteY1" fmla="*/ 0 h 5795285"/>
              <a:gd name="connsiteX2" fmla="*/ 2854308 w 2854308"/>
              <a:gd name="connsiteY2" fmla="*/ 5707955 h 5795285"/>
              <a:gd name="connsiteX3" fmla="*/ 2524513 w 2854308"/>
              <a:gd name="connsiteY3" fmla="*/ 5750975 h 5795285"/>
              <a:gd name="connsiteX4" fmla="*/ 0 w 2854308"/>
              <a:gd name="connsiteY4" fmla="*/ 4639889 h 5795285"/>
              <a:gd name="connsiteX5" fmla="*/ 0 w 2854308"/>
              <a:gd name="connsiteY5" fmla="*/ 0 h 5795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4308" h="5795285">
                <a:moveTo>
                  <a:pt x="0" y="0"/>
                </a:moveTo>
                <a:lnTo>
                  <a:pt x="2854308" y="0"/>
                </a:lnTo>
                <a:lnTo>
                  <a:pt x="2854308" y="5707955"/>
                </a:lnTo>
                <a:lnTo>
                  <a:pt x="2524513" y="5750975"/>
                </a:lnTo>
                <a:cubicBezTo>
                  <a:pt x="1376540" y="5878597"/>
                  <a:pt x="0" y="5793270"/>
                  <a:pt x="0" y="4639889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696200" y="1987868"/>
            <a:ext cx="2379855" cy="449580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610725" y="4322033"/>
            <a:ext cx="13955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  <a:buClr>
                <a:schemeClr val="tx2"/>
              </a:buClr>
            </a:pPr>
            <a:r>
              <a:rPr lang="en-US" sz="2200" b="1">
                <a:solidFill>
                  <a:schemeClr val="bg1"/>
                </a:solidFill>
              </a:rPr>
              <a:t>Lorem Ipsum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9875" y="3233189"/>
            <a:ext cx="1333601" cy="2021093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9152" y="4125514"/>
            <a:ext cx="3473833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93912" y="4125514"/>
            <a:ext cx="3473833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821137" y="1403849"/>
            <a:ext cx="1962875" cy="232767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Chart Placeholder 18">
            <a:extLst>
              <a:ext uri="{FF2B5EF4-FFF2-40B4-BE49-F238E27FC236}">
                <a16:creationId xmlns:a16="http://schemas.microsoft.com/office/drawing/2014/main" id="{1B2F5493-6162-4AC0-BA43-8D7A7C0FA263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44692" y="1429861"/>
            <a:ext cx="7230971" cy="2456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endParaRPr lang="pt-PT"/>
          </a:p>
        </p:txBody>
      </p:sp>
      <p:cxnSp>
        <p:nvCxnSpPr>
          <p:cNvPr id="2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9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0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31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334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>
          <a:xfrm>
            <a:off x="0" y="3048150"/>
            <a:ext cx="10105936" cy="3809851"/>
          </a:xfrm>
          <a:custGeom>
            <a:avLst/>
            <a:gdLst>
              <a:gd name="connsiteX0" fmla="*/ 0 w 10105936"/>
              <a:gd name="connsiteY0" fmla="*/ 0 h 3809851"/>
              <a:gd name="connsiteX1" fmla="*/ 5362334 w 10105936"/>
              <a:gd name="connsiteY1" fmla="*/ 1015711 h 3809851"/>
              <a:gd name="connsiteX2" fmla="*/ 10105936 w 10105936"/>
              <a:gd name="connsiteY2" fmla="*/ 2151930 h 3809851"/>
              <a:gd name="connsiteX3" fmla="*/ 10105936 w 10105936"/>
              <a:gd name="connsiteY3" fmla="*/ 3601192 h 3809851"/>
              <a:gd name="connsiteX4" fmla="*/ 10105936 w 10105936"/>
              <a:gd name="connsiteY4" fmla="*/ 3809851 h 3809851"/>
              <a:gd name="connsiteX5" fmla="*/ 0 w 10105936"/>
              <a:gd name="connsiteY5" fmla="*/ 3809851 h 3809851"/>
              <a:gd name="connsiteX6" fmla="*/ 0 w 10105936"/>
              <a:gd name="connsiteY6" fmla="*/ 3761009 h 3809851"/>
              <a:gd name="connsiteX7" fmla="*/ 0 w 10105936"/>
              <a:gd name="connsiteY7" fmla="*/ 0 h 3809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105936" h="3809851">
                <a:moveTo>
                  <a:pt x="0" y="0"/>
                </a:moveTo>
                <a:cubicBezTo>
                  <a:pt x="137496" y="17215"/>
                  <a:pt x="3832694" y="688618"/>
                  <a:pt x="5362334" y="1015711"/>
                </a:cubicBezTo>
                <a:cubicBezTo>
                  <a:pt x="7098217" y="1377235"/>
                  <a:pt x="8679418" y="1755975"/>
                  <a:pt x="10105936" y="2151930"/>
                </a:cubicBezTo>
                <a:cubicBezTo>
                  <a:pt x="10105936" y="2151930"/>
                  <a:pt x="10105936" y="2151930"/>
                  <a:pt x="10105936" y="3601192"/>
                </a:cubicBezTo>
                <a:lnTo>
                  <a:pt x="10105936" y="3809851"/>
                </a:lnTo>
                <a:lnTo>
                  <a:pt x="0" y="3809851"/>
                </a:lnTo>
                <a:lnTo>
                  <a:pt x="0" y="3761009"/>
                </a:lnTo>
                <a:cubicBezTo>
                  <a:pt x="0" y="2691837"/>
                  <a:pt x="0" y="1447711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C6B32C-D462-4034-BF1F-AAA2222C84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575" y="2175024"/>
            <a:ext cx="1997273" cy="1997273"/>
          </a:xfrm>
          <a:custGeom>
            <a:avLst/>
            <a:gdLst>
              <a:gd name="connsiteX0" fmla="*/ 1143000 w 2286000"/>
              <a:gd name="connsiteY0" fmla="*/ 0 h 2286000"/>
              <a:gd name="connsiteX1" fmla="*/ 2286000 w 2286000"/>
              <a:gd name="connsiteY1" fmla="*/ 1143000 h 2286000"/>
              <a:gd name="connsiteX2" fmla="*/ 1143000 w 2286000"/>
              <a:gd name="connsiteY2" fmla="*/ 2286000 h 2286000"/>
              <a:gd name="connsiteX3" fmla="*/ 0 w 2286000"/>
              <a:gd name="connsiteY3" fmla="*/ 1143000 h 2286000"/>
              <a:gd name="connsiteX4" fmla="*/ 1143000 w 2286000"/>
              <a:gd name="connsiteY4" fmla="*/ 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00" h="2286000">
                <a:moveTo>
                  <a:pt x="1143000" y="0"/>
                </a:moveTo>
                <a:cubicBezTo>
                  <a:pt x="1774261" y="0"/>
                  <a:pt x="2286000" y="511739"/>
                  <a:pt x="2286000" y="1143000"/>
                </a:cubicBezTo>
                <a:cubicBezTo>
                  <a:pt x="2286000" y="1774261"/>
                  <a:pt x="1774261" y="2286000"/>
                  <a:pt x="1143000" y="2286000"/>
                </a:cubicBezTo>
                <a:cubicBezTo>
                  <a:pt x="511739" y="2286000"/>
                  <a:pt x="0" y="1774261"/>
                  <a:pt x="0" y="1143000"/>
                </a:cubicBezTo>
                <a:cubicBezTo>
                  <a:pt x="0" y="511739"/>
                  <a:pt x="511739" y="0"/>
                  <a:pt x="1143000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9152" y="5423254"/>
            <a:ext cx="9202048" cy="102993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9152" y="4807558"/>
            <a:ext cx="3106048" cy="36044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9152" y="4350358"/>
            <a:ext cx="3106048" cy="36044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3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32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3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1"/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3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383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 userDrawn="1"/>
        </p:nvSpPr>
        <p:spPr>
          <a:xfrm>
            <a:off x="-9192" y="0"/>
            <a:ext cx="8056297" cy="6858000"/>
          </a:xfrm>
          <a:custGeom>
            <a:avLst/>
            <a:gdLst>
              <a:gd name="connsiteX0" fmla="*/ 0 w 8056297"/>
              <a:gd name="connsiteY0" fmla="*/ 0 h 6858000"/>
              <a:gd name="connsiteX1" fmla="*/ 8056297 w 8056297"/>
              <a:gd name="connsiteY1" fmla="*/ 0 h 6858000"/>
              <a:gd name="connsiteX2" fmla="*/ 8056297 w 8056297"/>
              <a:gd name="connsiteY2" fmla="*/ 223850 h 6858000"/>
              <a:gd name="connsiteX3" fmla="*/ 8056297 w 8056297"/>
              <a:gd name="connsiteY3" fmla="*/ 6587097 h 6858000"/>
              <a:gd name="connsiteX4" fmla="*/ 8056297 w 8056297"/>
              <a:gd name="connsiteY4" fmla="*/ 6858000 h 6858000"/>
              <a:gd name="connsiteX5" fmla="*/ 3114070 w 8056297"/>
              <a:gd name="connsiteY5" fmla="*/ 6858000 h 6858000"/>
              <a:gd name="connsiteX6" fmla="*/ 2935863 w 8056297"/>
              <a:gd name="connsiteY6" fmla="*/ 6807788 h 6858000"/>
              <a:gd name="connsiteX7" fmla="*/ 0 w 8056297"/>
              <a:gd name="connsiteY7" fmla="*/ 2811350 h 6858000"/>
              <a:gd name="connsiteX8" fmla="*/ 0 w 8056297"/>
              <a:gd name="connsiteY8" fmla="*/ 126445 h 6858000"/>
              <a:gd name="connsiteX9" fmla="*/ 0 w 8056297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56297" h="6858000">
                <a:moveTo>
                  <a:pt x="0" y="0"/>
                </a:moveTo>
                <a:lnTo>
                  <a:pt x="8056297" y="0"/>
                </a:lnTo>
                <a:lnTo>
                  <a:pt x="8056297" y="223850"/>
                </a:lnTo>
                <a:cubicBezTo>
                  <a:pt x="8056297" y="1771667"/>
                  <a:pt x="8056297" y="3835422"/>
                  <a:pt x="8056297" y="6587097"/>
                </a:cubicBezTo>
                <a:lnTo>
                  <a:pt x="8056297" y="6858000"/>
                </a:lnTo>
                <a:lnTo>
                  <a:pt x="3114070" y="6858000"/>
                </a:lnTo>
                <a:lnTo>
                  <a:pt x="2935863" y="6807788"/>
                </a:lnTo>
                <a:cubicBezTo>
                  <a:pt x="1205245" y="6277787"/>
                  <a:pt x="0" y="4673939"/>
                  <a:pt x="0" y="2811350"/>
                </a:cubicBezTo>
                <a:cubicBezTo>
                  <a:pt x="0" y="2811350"/>
                  <a:pt x="0" y="2811350"/>
                  <a:pt x="0" y="12644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043649" y="2857117"/>
            <a:ext cx="1316248" cy="3582877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3" name="Picture Placeholder 48">
            <a:extLst>
              <a:ext uri="{FF2B5EF4-FFF2-40B4-BE49-F238E27FC236}">
                <a16:creationId xmlns:a16="http://schemas.microsoft.com/office/drawing/2014/main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0088" y="1412875"/>
            <a:ext cx="630076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57400" y="4495800"/>
            <a:ext cx="4673456" cy="195738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81521" y="1770707"/>
            <a:ext cx="3602492" cy="1277293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81521" y="1424119"/>
            <a:ext cx="3602492" cy="3105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23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5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6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848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5334000" y="3853580"/>
            <a:ext cx="6873945" cy="3004421"/>
          </a:xfrm>
          <a:custGeom>
            <a:avLst/>
            <a:gdLst>
              <a:gd name="connsiteX0" fmla="*/ 3131715 w 6873945"/>
              <a:gd name="connsiteY0" fmla="*/ 226 h 3004421"/>
              <a:gd name="connsiteX1" fmla="*/ 6873945 w 6873945"/>
              <a:gd name="connsiteY1" fmla="*/ 549103 h 3004421"/>
              <a:gd name="connsiteX2" fmla="*/ 6873945 w 6873945"/>
              <a:gd name="connsiteY2" fmla="*/ 2848107 h 3004421"/>
              <a:gd name="connsiteX3" fmla="*/ 6873945 w 6873945"/>
              <a:gd name="connsiteY3" fmla="*/ 3004421 h 3004421"/>
              <a:gd name="connsiteX4" fmla="*/ 0 w 6873945"/>
              <a:gd name="connsiteY4" fmla="*/ 3004421 h 3004421"/>
              <a:gd name="connsiteX5" fmla="*/ 0 w 6873945"/>
              <a:gd name="connsiteY5" fmla="*/ 2711764 h 3004421"/>
              <a:gd name="connsiteX6" fmla="*/ 0 w 6873945"/>
              <a:gd name="connsiteY6" fmla="*/ 1986869 h 3004421"/>
              <a:gd name="connsiteX7" fmla="*/ 3131715 w 6873945"/>
              <a:gd name="connsiteY7" fmla="*/ 226 h 300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73945" h="3004421">
                <a:moveTo>
                  <a:pt x="3131715" y="226"/>
                </a:moveTo>
                <a:cubicBezTo>
                  <a:pt x="4748449" y="11559"/>
                  <a:pt x="6466935" y="445480"/>
                  <a:pt x="6873945" y="549103"/>
                </a:cubicBezTo>
                <a:cubicBezTo>
                  <a:pt x="6873945" y="549103"/>
                  <a:pt x="6873945" y="549103"/>
                  <a:pt x="6873945" y="2848107"/>
                </a:cubicBezTo>
                <a:lnTo>
                  <a:pt x="6873945" y="3004421"/>
                </a:lnTo>
                <a:lnTo>
                  <a:pt x="0" y="3004421"/>
                </a:lnTo>
                <a:lnTo>
                  <a:pt x="0" y="2711764"/>
                </a:lnTo>
                <a:cubicBezTo>
                  <a:pt x="0" y="2477761"/>
                  <a:pt x="0" y="2236211"/>
                  <a:pt x="0" y="1986869"/>
                </a:cubicBezTo>
                <a:cubicBezTo>
                  <a:pt x="0" y="400145"/>
                  <a:pt x="1514981" y="-11108"/>
                  <a:pt x="3131715" y="2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400" y="836613"/>
            <a:ext cx="4986972" cy="573047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6221413" cy="20912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1" name="Chart Placeholder 18">
            <a:extLst>
              <a:ext uri="{FF2B5EF4-FFF2-40B4-BE49-F238E27FC236}">
                <a16:creationId xmlns:a16="http://schemas.microsoft.com/office/drawing/2014/main" id="{1B2F5493-6162-4AC0-BA43-8D7A7C0FA263}"/>
              </a:ext>
            </a:extLst>
          </p:cNvPr>
          <p:cNvSpPr>
            <a:spLocks noGrp="1"/>
          </p:cNvSpPr>
          <p:nvPr>
            <p:ph type="chart" sz="quarter" idx="46"/>
          </p:nvPr>
        </p:nvSpPr>
        <p:spPr>
          <a:xfrm>
            <a:off x="444692" y="3958859"/>
            <a:ext cx="4840287" cy="2456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endParaRPr lang="pt-PT"/>
          </a:p>
        </p:txBody>
      </p:sp>
      <p:cxnSp>
        <p:nvCxnSpPr>
          <p:cNvPr id="25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7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8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85733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1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33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4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35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60115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shap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0">
            <a:extLst>
              <a:ext uri="{FF2B5EF4-FFF2-40B4-BE49-F238E27FC236}">
                <a16:creationId xmlns:a16="http://schemas.microsoft.com/office/drawing/2014/main" id="{864CE6E5-A4BC-441C-AA47-9924021C2BBA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4191000" cy="6799548"/>
          </a:xfrm>
          <a:custGeom>
            <a:avLst/>
            <a:gdLst>
              <a:gd name="T0" fmla="*/ 0 w 532"/>
              <a:gd name="T1" fmla="*/ 0 h 861"/>
              <a:gd name="T2" fmla="*/ 0 w 532"/>
              <a:gd name="T3" fmla="*/ 727 h 861"/>
              <a:gd name="T4" fmla="*/ 532 w 532"/>
              <a:gd name="T5" fmla="*/ 616 h 861"/>
              <a:gd name="T6" fmla="*/ 532 w 532"/>
              <a:gd name="T7" fmla="*/ 0 h 861"/>
              <a:gd name="T8" fmla="*/ 0 w 532"/>
              <a:gd name="T9" fmla="*/ 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2" h="861">
                <a:moveTo>
                  <a:pt x="0" y="0"/>
                </a:moveTo>
                <a:cubicBezTo>
                  <a:pt x="0" y="727"/>
                  <a:pt x="0" y="727"/>
                  <a:pt x="0" y="727"/>
                </a:cubicBezTo>
                <a:cubicBezTo>
                  <a:pt x="63" y="743"/>
                  <a:pt x="532" y="861"/>
                  <a:pt x="532" y="616"/>
                </a:cubicBezTo>
                <a:cubicBezTo>
                  <a:pt x="532" y="0"/>
                  <a:pt x="532" y="0"/>
                  <a:pt x="53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9">
            <a:extLst>
              <a:ext uri="{FF2B5EF4-FFF2-40B4-BE49-F238E27FC236}">
                <a16:creationId xmlns:a16="http://schemas.microsoft.com/office/drawing/2014/main" id="{A9693E6A-90D9-4C93-BF94-8E82C4BE65F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1441812"/>
            <a:ext cx="2971800" cy="5011222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6EFA0DE-0814-4F2F-957C-1DADE549A2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8836" y="1382131"/>
            <a:ext cx="3373328" cy="24622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51C64A-1536-4556-9BD8-D4EDFB6DA4A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8836" y="1890131"/>
            <a:ext cx="2079721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7EDD487-2CB6-4B80-BCA4-0B2C451F52F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0" y="1425556"/>
            <a:ext cx="5819775" cy="4940152"/>
          </a:xfrm>
        </p:spPr>
        <p:txBody>
          <a:bodyPr/>
          <a:lstStyle/>
          <a:p>
            <a:pPr lvl="0"/>
            <a:r>
              <a:rPr lang="en-US" noProof="0"/>
              <a:t>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3469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6553200" y="1"/>
            <a:ext cx="5638800" cy="5355237"/>
          </a:xfrm>
          <a:custGeom>
            <a:avLst/>
            <a:gdLst>
              <a:gd name="connsiteX0" fmla="*/ 0 w 5638800"/>
              <a:gd name="connsiteY0" fmla="*/ 0 h 5355237"/>
              <a:gd name="connsiteX1" fmla="*/ 5638800 w 5638800"/>
              <a:gd name="connsiteY1" fmla="*/ 0 h 5355237"/>
              <a:gd name="connsiteX2" fmla="*/ 5638800 w 5638800"/>
              <a:gd name="connsiteY2" fmla="*/ 262266 h 5355237"/>
              <a:gd name="connsiteX3" fmla="*/ 5638800 w 5638800"/>
              <a:gd name="connsiteY3" fmla="*/ 4904579 h 5355237"/>
              <a:gd name="connsiteX4" fmla="*/ 0 w 5638800"/>
              <a:gd name="connsiteY4" fmla="*/ 3724580 h 5355237"/>
              <a:gd name="connsiteX5" fmla="*/ 0 w 5638800"/>
              <a:gd name="connsiteY5" fmla="*/ 298668 h 5355237"/>
              <a:gd name="connsiteX6" fmla="*/ 0 w 5638800"/>
              <a:gd name="connsiteY6" fmla="*/ 0 h 535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38800" h="5355237">
                <a:moveTo>
                  <a:pt x="0" y="0"/>
                </a:moveTo>
                <a:lnTo>
                  <a:pt x="5638800" y="0"/>
                </a:lnTo>
                <a:lnTo>
                  <a:pt x="5638800" y="262266"/>
                </a:lnTo>
                <a:cubicBezTo>
                  <a:pt x="5638800" y="4904579"/>
                  <a:pt x="5638800" y="4904579"/>
                  <a:pt x="5638800" y="4904579"/>
                </a:cubicBezTo>
                <a:cubicBezTo>
                  <a:pt x="4971047" y="5074669"/>
                  <a:pt x="0" y="6329082"/>
                  <a:pt x="0" y="3724580"/>
                </a:cubicBezTo>
                <a:cubicBezTo>
                  <a:pt x="0" y="2292104"/>
                  <a:pt x="0" y="1172982"/>
                  <a:pt x="0" y="29866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792932" y="8382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92932" y="17526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2751" y="1337969"/>
            <a:ext cx="5777031" cy="51876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4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7CD-038D-414A-A4AC-730FBBF70B16}" type="datetimeFigureOut">
              <a:rPr lang="en-US" smtClean="0"/>
              <a:t>11/16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8C2A6-7EDA-F944-B64A-4D487D4DE9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3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C0D78-F6EF-4B43-BF45-B39FBF760D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BEAC09-F68B-463D-8F83-63CA4154DB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613443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57922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9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6553200" y="1"/>
            <a:ext cx="5638800" cy="5355237"/>
          </a:xfrm>
          <a:custGeom>
            <a:avLst/>
            <a:gdLst>
              <a:gd name="connsiteX0" fmla="*/ 0 w 5638800"/>
              <a:gd name="connsiteY0" fmla="*/ 0 h 5355237"/>
              <a:gd name="connsiteX1" fmla="*/ 5638800 w 5638800"/>
              <a:gd name="connsiteY1" fmla="*/ 0 h 5355237"/>
              <a:gd name="connsiteX2" fmla="*/ 5638800 w 5638800"/>
              <a:gd name="connsiteY2" fmla="*/ 262266 h 5355237"/>
              <a:gd name="connsiteX3" fmla="*/ 5638800 w 5638800"/>
              <a:gd name="connsiteY3" fmla="*/ 4904579 h 5355237"/>
              <a:gd name="connsiteX4" fmla="*/ 0 w 5638800"/>
              <a:gd name="connsiteY4" fmla="*/ 3724580 h 5355237"/>
              <a:gd name="connsiteX5" fmla="*/ 0 w 5638800"/>
              <a:gd name="connsiteY5" fmla="*/ 298668 h 5355237"/>
              <a:gd name="connsiteX6" fmla="*/ 0 w 5638800"/>
              <a:gd name="connsiteY6" fmla="*/ 0 h 535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38800" h="5355237">
                <a:moveTo>
                  <a:pt x="0" y="0"/>
                </a:moveTo>
                <a:lnTo>
                  <a:pt x="5638800" y="0"/>
                </a:lnTo>
                <a:lnTo>
                  <a:pt x="5638800" y="262266"/>
                </a:lnTo>
                <a:cubicBezTo>
                  <a:pt x="5638800" y="4904579"/>
                  <a:pt x="5638800" y="4904579"/>
                  <a:pt x="5638800" y="4904579"/>
                </a:cubicBezTo>
                <a:cubicBezTo>
                  <a:pt x="4971047" y="5074669"/>
                  <a:pt x="0" y="6329082"/>
                  <a:pt x="0" y="3724580"/>
                </a:cubicBezTo>
                <a:cubicBezTo>
                  <a:pt x="0" y="2292104"/>
                  <a:pt x="0" y="1172982"/>
                  <a:pt x="0" y="29866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792932" y="8382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92932" y="17526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2751" y="1337969"/>
            <a:ext cx="5777031" cy="51876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813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2" y="0"/>
            <a:ext cx="9973295" cy="4193362"/>
          </a:xfrm>
          <a:custGeom>
            <a:avLst/>
            <a:gdLst>
              <a:gd name="connsiteX0" fmla="*/ 0 w 9973295"/>
              <a:gd name="connsiteY0" fmla="*/ 0 h 4193362"/>
              <a:gd name="connsiteX1" fmla="*/ 9912010 w 9973295"/>
              <a:gd name="connsiteY1" fmla="*/ 0 h 4193362"/>
              <a:gd name="connsiteX2" fmla="*/ 9927053 w 9973295"/>
              <a:gd name="connsiteY2" fmla="*/ 149768 h 4193362"/>
              <a:gd name="connsiteX3" fmla="*/ 7984937 w 9973295"/>
              <a:gd name="connsiteY3" fmla="*/ 4193362 h 4193362"/>
              <a:gd name="connsiteX4" fmla="*/ 0 w 9973295"/>
              <a:gd name="connsiteY4" fmla="*/ 4193362 h 4193362"/>
              <a:gd name="connsiteX5" fmla="*/ 0 w 9973295"/>
              <a:gd name="connsiteY5" fmla="*/ 0 h 4193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73295" h="4193362">
                <a:moveTo>
                  <a:pt x="0" y="0"/>
                </a:moveTo>
                <a:lnTo>
                  <a:pt x="9912010" y="0"/>
                </a:lnTo>
                <a:lnTo>
                  <a:pt x="9927053" y="149768"/>
                </a:lnTo>
                <a:cubicBezTo>
                  <a:pt x="10097391" y="2056447"/>
                  <a:pt x="9870584" y="4193362"/>
                  <a:pt x="7984937" y="4193362"/>
                </a:cubicBezTo>
                <a:cubicBezTo>
                  <a:pt x="0" y="4193362"/>
                  <a:pt x="0" y="4193362"/>
                  <a:pt x="0" y="419336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1683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23123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-720915"/>
            <a:ext cx="4707110" cy="72768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4372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11861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46607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533400"/>
            <a:ext cx="8534400" cy="6324600"/>
          </a:xfrm>
          <a:custGeom>
            <a:avLst/>
            <a:gdLst>
              <a:gd name="connsiteX0" fmla="*/ 0 w 8534400"/>
              <a:gd name="connsiteY0" fmla="*/ 0 h 6324600"/>
              <a:gd name="connsiteX1" fmla="*/ 348343 w 8534400"/>
              <a:gd name="connsiteY1" fmla="*/ 58194 h 6324600"/>
              <a:gd name="connsiteX2" fmla="*/ 8534400 w 8534400"/>
              <a:gd name="connsiteY2" fmla="*/ 1818574 h 6324600"/>
              <a:gd name="connsiteX3" fmla="*/ 8534400 w 8534400"/>
              <a:gd name="connsiteY3" fmla="*/ 6186046 h 6324600"/>
              <a:gd name="connsiteX4" fmla="*/ 8534400 w 8534400"/>
              <a:gd name="connsiteY4" fmla="*/ 6324600 h 6324600"/>
              <a:gd name="connsiteX5" fmla="*/ 0 w 8534400"/>
              <a:gd name="connsiteY5" fmla="*/ 6324600 h 6324600"/>
              <a:gd name="connsiteX6" fmla="*/ 0 w 8534400"/>
              <a:gd name="connsiteY6" fmla="*/ 6241218 h 6324600"/>
              <a:gd name="connsiteX7" fmla="*/ 0 w 8534400"/>
              <a:gd name="connsiteY7" fmla="*/ 0 h 632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324600">
                <a:moveTo>
                  <a:pt x="0" y="0"/>
                </a:moveTo>
                <a:cubicBezTo>
                  <a:pt x="116114" y="14549"/>
                  <a:pt x="232229" y="29097"/>
                  <a:pt x="348343" y="58194"/>
                </a:cubicBezTo>
                <a:cubicBezTo>
                  <a:pt x="3556000" y="611041"/>
                  <a:pt x="6284686" y="1207533"/>
                  <a:pt x="8534400" y="1818574"/>
                </a:cubicBezTo>
                <a:cubicBezTo>
                  <a:pt x="8534400" y="1818574"/>
                  <a:pt x="8534400" y="1818574"/>
                  <a:pt x="8534400" y="6186046"/>
                </a:cubicBezTo>
                <a:lnTo>
                  <a:pt x="8534400" y="6324600"/>
                </a:lnTo>
                <a:lnTo>
                  <a:pt x="0" y="6324600"/>
                </a:lnTo>
                <a:lnTo>
                  <a:pt x="0" y="6241218"/>
                </a:lnTo>
                <a:cubicBezTo>
                  <a:pt x="0" y="4953254"/>
                  <a:pt x="0" y="2990644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81940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73379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538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83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2"/>
            <a:ext cx="8664800" cy="5891173"/>
          </a:xfrm>
          <a:custGeom>
            <a:avLst/>
            <a:gdLst>
              <a:gd name="connsiteX0" fmla="*/ 0 w 8664800"/>
              <a:gd name="connsiteY0" fmla="*/ 0 h 5891173"/>
              <a:gd name="connsiteX1" fmla="*/ 8664800 w 8664800"/>
              <a:gd name="connsiteY1" fmla="*/ 0 h 5891173"/>
              <a:gd name="connsiteX2" fmla="*/ 8664384 w 8664800"/>
              <a:gd name="connsiteY2" fmla="*/ 3446 h 5891173"/>
              <a:gd name="connsiteX3" fmla="*/ 4910849 w 8664800"/>
              <a:gd name="connsiteY3" fmla="*/ 5752723 h 5891173"/>
              <a:gd name="connsiteX4" fmla="*/ 136189 w 8664800"/>
              <a:gd name="connsiteY4" fmla="*/ 3904223 h 5891173"/>
              <a:gd name="connsiteX5" fmla="*/ 0 w 8664800"/>
              <a:gd name="connsiteY5" fmla="*/ 3851498 h 5891173"/>
              <a:gd name="connsiteX6" fmla="*/ 0 w 8664800"/>
              <a:gd name="connsiteY6" fmla="*/ 0 h 589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64800" h="5891173">
                <a:moveTo>
                  <a:pt x="0" y="0"/>
                </a:moveTo>
                <a:lnTo>
                  <a:pt x="8664800" y="0"/>
                </a:lnTo>
                <a:lnTo>
                  <a:pt x="8664384" y="3446"/>
                </a:lnTo>
                <a:cubicBezTo>
                  <a:pt x="8546736" y="969909"/>
                  <a:pt x="7776240" y="6862054"/>
                  <a:pt x="4910849" y="5752723"/>
                </a:cubicBezTo>
                <a:cubicBezTo>
                  <a:pt x="2738090" y="4911543"/>
                  <a:pt x="1210368" y="4320089"/>
                  <a:pt x="136189" y="3904223"/>
                </a:cubicBezTo>
                <a:lnTo>
                  <a:pt x="0" y="385149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48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31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33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2703358" y="1531422"/>
            <a:ext cx="9488642" cy="5326579"/>
          </a:xfrm>
          <a:custGeom>
            <a:avLst/>
            <a:gdLst>
              <a:gd name="connsiteX0" fmla="*/ 8600219 w 9488642"/>
              <a:gd name="connsiteY0" fmla="*/ 517 h 5326579"/>
              <a:gd name="connsiteX1" fmla="*/ 9337654 w 9488642"/>
              <a:gd name="connsiteY1" fmla="*/ 75918 h 5326579"/>
              <a:gd name="connsiteX2" fmla="*/ 9488642 w 9488642"/>
              <a:gd name="connsiteY2" fmla="*/ 108110 h 5326579"/>
              <a:gd name="connsiteX3" fmla="*/ 9488642 w 9488642"/>
              <a:gd name="connsiteY3" fmla="*/ 5326579 h 5326579"/>
              <a:gd name="connsiteX4" fmla="*/ 0 w 9488642"/>
              <a:gd name="connsiteY4" fmla="*/ 5326579 h 5326579"/>
              <a:gd name="connsiteX5" fmla="*/ 239796 w 9488642"/>
              <a:gd name="connsiteY5" fmla="*/ 5146683 h 5326579"/>
              <a:gd name="connsiteX6" fmla="*/ 5947966 w 9488642"/>
              <a:gd name="connsiteY6" fmla="*/ 864382 h 5326579"/>
              <a:gd name="connsiteX7" fmla="*/ 8600219 w 9488642"/>
              <a:gd name="connsiteY7" fmla="*/ 517 h 5326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88642" h="5326579">
                <a:moveTo>
                  <a:pt x="8600219" y="517"/>
                </a:moveTo>
                <a:cubicBezTo>
                  <a:pt x="8847532" y="4354"/>
                  <a:pt x="9094309" y="29531"/>
                  <a:pt x="9337654" y="75918"/>
                </a:cubicBezTo>
                <a:lnTo>
                  <a:pt x="9488642" y="108110"/>
                </a:lnTo>
                <a:lnTo>
                  <a:pt x="9488642" y="5326579"/>
                </a:lnTo>
                <a:lnTo>
                  <a:pt x="0" y="5326579"/>
                </a:lnTo>
                <a:lnTo>
                  <a:pt x="239796" y="5146683"/>
                </a:lnTo>
                <a:cubicBezTo>
                  <a:pt x="5947966" y="864382"/>
                  <a:pt x="5947966" y="864382"/>
                  <a:pt x="5947966" y="864382"/>
                </a:cubicBezTo>
                <a:cubicBezTo>
                  <a:pt x="6737823" y="271827"/>
                  <a:pt x="7672794" y="-13871"/>
                  <a:pt x="8600219" y="5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89560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80999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7250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734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3" cy="4126254"/>
          </a:xfrm>
          <a:custGeom>
            <a:avLst/>
            <a:gdLst>
              <a:gd name="connsiteX0" fmla="*/ 3218906 w 6354233"/>
              <a:gd name="connsiteY0" fmla="*/ 0 h 4126254"/>
              <a:gd name="connsiteX1" fmla="*/ 6338061 w 6354233"/>
              <a:gd name="connsiteY1" fmla="*/ 0 h 4126254"/>
              <a:gd name="connsiteX2" fmla="*/ 6354233 w 6354233"/>
              <a:gd name="connsiteY2" fmla="*/ 0 h 4126254"/>
              <a:gd name="connsiteX3" fmla="*/ 6354233 w 6354233"/>
              <a:gd name="connsiteY3" fmla="*/ 4126254 h 4126254"/>
              <a:gd name="connsiteX4" fmla="*/ 0 w 6354233"/>
              <a:gd name="connsiteY4" fmla="*/ 4126254 h 4126254"/>
              <a:gd name="connsiteX5" fmla="*/ 18929 w 6354233"/>
              <a:gd name="connsiteY5" fmla="*/ 4013385 h 4126254"/>
              <a:gd name="connsiteX6" fmla="*/ 273134 w 6354233"/>
              <a:gd name="connsiteY6" fmla="*/ 2497612 h 4126254"/>
              <a:gd name="connsiteX7" fmla="*/ 3218906 w 6354233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3" h="4126254">
                <a:moveTo>
                  <a:pt x="3218906" y="0"/>
                </a:moveTo>
                <a:cubicBezTo>
                  <a:pt x="3218906" y="0"/>
                  <a:pt x="3218906" y="0"/>
                  <a:pt x="6338061" y="0"/>
                </a:cubicBezTo>
                <a:lnTo>
                  <a:pt x="6354233" y="0"/>
                </a:lnTo>
                <a:lnTo>
                  <a:pt x="6354233" y="4126254"/>
                </a:lnTo>
                <a:lnTo>
                  <a:pt x="0" y="4126254"/>
                </a:lnTo>
                <a:lnTo>
                  <a:pt x="18929" y="4013385"/>
                </a:lnTo>
                <a:cubicBezTo>
                  <a:pt x="86798" y="3608700"/>
                  <a:pt x="170328" y="3110626"/>
                  <a:pt x="273134" y="2497612"/>
                </a:cubicBezTo>
                <a:cubicBezTo>
                  <a:pt x="509656" y="1050498"/>
                  <a:pt x="1756771" y="0"/>
                  <a:pt x="321890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2" y="1924738"/>
            <a:ext cx="7237505" cy="4933262"/>
          </a:xfrm>
          <a:custGeom>
            <a:avLst/>
            <a:gdLst>
              <a:gd name="connsiteX0" fmla="*/ 4395998 w 7237505"/>
              <a:gd name="connsiteY0" fmla="*/ 58 h 4933262"/>
              <a:gd name="connsiteX1" fmla="*/ 7233138 w 7237505"/>
              <a:gd name="connsiteY1" fmla="*/ 4903565 h 4933262"/>
              <a:gd name="connsiteX2" fmla="*/ 7237505 w 7237505"/>
              <a:gd name="connsiteY2" fmla="*/ 4933262 h 4933262"/>
              <a:gd name="connsiteX3" fmla="*/ 0 w 7237505"/>
              <a:gd name="connsiteY3" fmla="*/ 4933262 h 4933262"/>
              <a:gd name="connsiteX4" fmla="*/ 0 w 7237505"/>
              <a:gd name="connsiteY4" fmla="*/ 1491292 h 4933262"/>
              <a:gd name="connsiteX5" fmla="*/ 148016 w 7237505"/>
              <a:gd name="connsiteY5" fmla="*/ 1437398 h 4933262"/>
              <a:gd name="connsiteX6" fmla="*/ 3756131 w 7237505"/>
              <a:gd name="connsiteY6" fmla="*/ 123640 h 4933262"/>
              <a:gd name="connsiteX7" fmla="*/ 4395998 w 7237505"/>
              <a:gd name="connsiteY7" fmla="*/ 58 h 493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505" h="4933262">
                <a:moveTo>
                  <a:pt x="4395998" y="58"/>
                </a:moveTo>
                <a:cubicBezTo>
                  <a:pt x="6238787" y="-15730"/>
                  <a:pt x="6966936" y="3156975"/>
                  <a:pt x="7233138" y="4903565"/>
                </a:cubicBezTo>
                <a:lnTo>
                  <a:pt x="7237505" y="4933262"/>
                </a:lnTo>
                <a:lnTo>
                  <a:pt x="0" y="4933262"/>
                </a:lnTo>
                <a:lnTo>
                  <a:pt x="0" y="1491292"/>
                </a:lnTo>
                <a:lnTo>
                  <a:pt x="148016" y="1437398"/>
                </a:lnTo>
                <a:cubicBezTo>
                  <a:pt x="1090161" y="1094352"/>
                  <a:pt x="2272461" y="663862"/>
                  <a:pt x="3756131" y="123640"/>
                </a:cubicBezTo>
                <a:cubicBezTo>
                  <a:pt x="3983091" y="41001"/>
                  <a:pt x="4196102" y="1771"/>
                  <a:pt x="4395998" y="5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38784" y="1696711"/>
            <a:ext cx="464522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84457" y="609600"/>
            <a:ext cx="4905075" cy="559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108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12193224" cy="3895500"/>
          </a:xfrm>
          <a:custGeom>
            <a:avLst/>
            <a:gdLst>
              <a:gd name="connsiteX0" fmla="*/ 0 w 12193224"/>
              <a:gd name="connsiteY0" fmla="*/ 0 h 3895500"/>
              <a:gd name="connsiteX1" fmla="*/ 12193224 w 12193224"/>
              <a:gd name="connsiteY1" fmla="*/ 0 h 3895500"/>
              <a:gd name="connsiteX2" fmla="*/ 12193224 w 12193224"/>
              <a:gd name="connsiteY2" fmla="*/ 246767 h 3895500"/>
              <a:gd name="connsiteX3" fmla="*/ 12193224 w 12193224"/>
              <a:gd name="connsiteY3" fmla="*/ 3895500 h 3895500"/>
              <a:gd name="connsiteX4" fmla="*/ 11695542 w 12193224"/>
              <a:gd name="connsiteY4" fmla="*/ 3812356 h 3895500"/>
              <a:gd name="connsiteX5" fmla="*/ 0 w 12193224"/>
              <a:gd name="connsiteY5" fmla="*/ 1297276 h 3895500"/>
              <a:gd name="connsiteX6" fmla="*/ 0 w 12193224"/>
              <a:gd name="connsiteY6" fmla="*/ 68316 h 3895500"/>
              <a:gd name="connsiteX7" fmla="*/ 0 w 12193224"/>
              <a:gd name="connsiteY7" fmla="*/ 0 h 38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24" h="3895500">
                <a:moveTo>
                  <a:pt x="0" y="0"/>
                </a:moveTo>
                <a:lnTo>
                  <a:pt x="12193224" y="0"/>
                </a:lnTo>
                <a:lnTo>
                  <a:pt x="12193224" y="246767"/>
                </a:lnTo>
                <a:cubicBezTo>
                  <a:pt x="12193224" y="1325156"/>
                  <a:pt x="12193224" y="2535979"/>
                  <a:pt x="12193224" y="3895500"/>
                </a:cubicBezTo>
                <a:cubicBezTo>
                  <a:pt x="12027332" y="3874712"/>
                  <a:pt x="11861436" y="3853928"/>
                  <a:pt x="11695542" y="3812356"/>
                </a:cubicBezTo>
                <a:cubicBezTo>
                  <a:pt x="7112716" y="3022496"/>
                  <a:pt x="3214200" y="2170279"/>
                  <a:pt x="0" y="1297276"/>
                </a:cubicBezTo>
                <a:cubicBezTo>
                  <a:pt x="0" y="1297276"/>
                  <a:pt x="0" y="1297276"/>
                  <a:pt x="0" y="6831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1360" y="1559681"/>
            <a:ext cx="4343400" cy="4920475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579828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Open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1" y="1773244"/>
            <a:ext cx="12682081" cy="5084756"/>
          </a:xfrm>
          <a:custGeom>
            <a:avLst/>
            <a:gdLst>
              <a:gd name="connsiteX0" fmla="*/ 9471990 w 12682081"/>
              <a:gd name="connsiteY0" fmla="*/ 542 h 5084756"/>
              <a:gd name="connsiteX1" fmla="*/ 12634063 w 12682081"/>
              <a:gd name="connsiteY1" fmla="*/ 4816991 h 5084756"/>
              <a:gd name="connsiteX2" fmla="*/ 12682081 w 12682081"/>
              <a:gd name="connsiteY2" fmla="*/ 5084756 h 5084756"/>
              <a:gd name="connsiteX3" fmla="*/ 0 w 12682081"/>
              <a:gd name="connsiteY3" fmla="*/ 5084756 h 5084756"/>
              <a:gd name="connsiteX4" fmla="*/ 0 w 12682081"/>
              <a:gd name="connsiteY4" fmla="*/ 2957111 h 5084756"/>
              <a:gd name="connsiteX5" fmla="*/ 26348 w 12682081"/>
              <a:gd name="connsiteY5" fmla="*/ 2948506 h 5084756"/>
              <a:gd name="connsiteX6" fmla="*/ 8652212 w 12682081"/>
              <a:gd name="connsiteY6" fmla="*/ 131371 h 5084756"/>
              <a:gd name="connsiteX7" fmla="*/ 9471990 w 12682081"/>
              <a:gd name="connsiteY7" fmla="*/ 542 h 5084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82081" h="5084756">
                <a:moveTo>
                  <a:pt x="9471990" y="542"/>
                </a:moveTo>
                <a:cubicBezTo>
                  <a:pt x="11348469" y="43621"/>
                  <a:pt x="12225265" y="2641773"/>
                  <a:pt x="12634063" y="4816991"/>
                </a:cubicBezTo>
                <a:lnTo>
                  <a:pt x="12682081" y="5084756"/>
                </a:lnTo>
                <a:lnTo>
                  <a:pt x="0" y="5084756"/>
                </a:lnTo>
                <a:lnTo>
                  <a:pt x="0" y="2957111"/>
                </a:lnTo>
                <a:lnTo>
                  <a:pt x="26348" y="2948506"/>
                </a:lnTo>
                <a:cubicBezTo>
                  <a:pt x="1039939" y="2617476"/>
                  <a:pt x="3356718" y="1860835"/>
                  <a:pt x="8652212" y="131371"/>
                </a:cubicBezTo>
                <a:cubicBezTo>
                  <a:pt x="8944735" y="35836"/>
                  <a:pt x="9217552" y="-5299"/>
                  <a:pt x="9471990" y="5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22635" y="3810000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15755" y="751840"/>
            <a:ext cx="5810544" cy="53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0662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7CD-038D-414A-A4AC-730FBBF70B16}" type="datetimeFigureOut">
              <a:rPr lang="en-US" smtClean="0"/>
              <a:t>11/16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8C2A6-7EDA-F944-B64A-4D487D4DE9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0584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7CD-038D-414A-A4AC-730FBBF70B16}" type="datetimeFigureOut">
              <a:rPr lang="en-US" smtClean="0"/>
              <a:t>11/16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8C2A6-7EDA-F944-B64A-4D487D4DE9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8903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bg1"/>
                </a:solidFill>
              </a:rPr>
              <a:t>About </a:t>
            </a:r>
            <a:r>
              <a:rPr lang="en-US" sz="1600" err="1">
                <a:solidFill>
                  <a:schemeClr val="bg1"/>
                </a:solidFill>
              </a:rPr>
              <a:t>Sogeti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tx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tx1"/>
                </a:solidFill>
                <a:latin typeface="+mn-lt"/>
                <a:cs typeface="Arial"/>
              </a:rPr>
              <a:t>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549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631598" y="0"/>
            <a:ext cx="4560403" cy="6858001"/>
          </a:xfrm>
          <a:custGeom>
            <a:avLst/>
            <a:gdLst>
              <a:gd name="connsiteX0" fmla="*/ 3889339 w 4560403"/>
              <a:gd name="connsiteY0" fmla="*/ 0 h 6858001"/>
              <a:gd name="connsiteX1" fmla="*/ 4560403 w 4560403"/>
              <a:gd name="connsiteY1" fmla="*/ 0 h 6858001"/>
              <a:gd name="connsiteX2" fmla="*/ 4560403 w 4560403"/>
              <a:gd name="connsiteY2" fmla="*/ 6858001 h 6858001"/>
              <a:gd name="connsiteX3" fmla="*/ 797256 w 4560403"/>
              <a:gd name="connsiteY3" fmla="*/ 6858001 h 6858001"/>
              <a:gd name="connsiteX4" fmla="*/ 788343 w 4560403"/>
              <a:gd name="connsiteY4" fmla="*/ 6827268 h 6858001"/>
              <a:gd name="connsiteX5" fmla="*/ 116308 w 4560403"/>
              <a:gd name="connsiteY5" fmla="*/ 4510048 h 6858001"/>
              <a:gd name="connsiteX6" fmla="*/ 1654161 w 4560403"/>
              <a:gd name="connsiteY6" fmla="*/ 1075400 h 6858001"/>
              <a:gd name="connsiteX7" fmla="*/ 3880655 w 4560403"/>
              <a:gd name="connsiteY7" fmla="*/ 4178 h 6858001"/>
              <a:gd name="connsiteX8" fmla="*/ 3889339 w 4560403"/>
              <a:gd name="connsiteY8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60403" h="6858001">
                <a:moveTo>
                  <a:pt x="3889339" y="0"/>
                </a:moveTo>
                <a:lnTo>
                  <a:pt x="4560403" y="0"/>
                </a:lnTo>
                <a:lnTo>
                  <a:pt x="4560403" y="6858001"/>
                </a:lnTo>
                <a:lnTo>
                  <a:pt x="797256" y="6858001"/>
                </a:lnTo>
                <a:lnTo>
                  <a:pt x="788343" y="6827268"/>
                </a:lnTo>
                <a:cubicBezTo>
                  <a:pt x="116308" y="4510048"/>
                  <a:pt x="116308" y="4510048"/>
                  <a:pt x="116308" y="4510048"/>
                </a:cubicBezTo>
                <a:cubicBezTo>
                  <a:pt x="-280530" y="3141724"/>
                  <a:pt x="364088" y="1689508"/>
                  <a:pt x="1654161" y="1075400"/>
                </a:cubicBezTo>
                <a:cubicBezTo>
                  <a:pt x="2768462" y="539282"/>
                  <a:pt x="3456195" y="208397"/>
                  <a:pt x="3880655" y="4178"/>
                </a:cubicBezTo>
                <a:lnTo>
                  <a:pt x="388933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798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798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pring Security</a:t>
            </a:r>
          </a:p>
        </p:txBody>
      </p:sp>
      <p:sp>
        <p:nvSpPr>
          <p:cNvPr id="24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449604" y="6565155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16-11-22</a:t>
            </a:r>
          </a:p>
        </p:txBody>
      </p:sp>
      <p:sp>
        <p:nvSpPr>
          <p:cNvPr id="25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6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9520" y="1654230"/>
            <a:ext cx="7363358" cy="478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5"/>
                </a:solidFill>
              </a:rPr>
              <a:t>About </a:t>
            </a:r>
            <a:r>
              <a:rPr lang="en-US" sz="1600" err="1">
                <a:solidFill>
                  <a:schemeClr val="accent5"/>
                </a:solidFill>
              </a:rPr>
              <a:t>Sogeti</a:t>
            </a:r>
            <a:endParaRPr lang="en-US" sz="160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770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>
                <a:solidFill>
                  <a:schemeClr val="accent3"/>
                </a:solidFill>
              </a:rPr>
              <a:t>About </a:t>
            </a:r>
            <a:r>
              <a:rPr lang="en-US" sz="1600" err="1">
                <a:solidFill>
                  <a:schemeClr val="accent3"/>
                </a:solidFill>
              </a:rPr>
              <a:t>Sogeti</a:t>
            </a:r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>
                <a:solidFill>
                  <a:schemeClr val="tx1"/>
                </a:solidFill>
              </a:rPr>
              <a:t>Learn more about us at</a:t>
            </a:r>
            <a:endParaRPr lang="en-US" sz="90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574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407988" y="2118167"/>
            <a:ext cx="11376025" cy="2683397"/>
            <a:chOff x="407988" y="3962400"/>
            <a:chExt cx="11124255" cy="2286000"/>
          </a:xfrm>
          <a:solidFill>
            <a:schemeClr val="bg2"/>
          </a:solidFill>
        </p:grpSpPr>
        <p:sp>
          <p:nvSpPr>
            <p:cNvPr id="32" name="Rectangle 31"/>
            <p:cNvSpPr/>
            <p:nvPr userDrawn="1"/>
          </p:nvSpPr>
          <p:spPr>
            <a:xfrm>
              <a:off x="407988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4192909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7977831" y="3962400"/>
              <a:ext cx="3554412" cy="228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407988" y="4379090"/>
            <a:ext cx="11376025" cy="1963838"/>
            <a:chOff x="407988" y="3962400"/>
            <a:chExt cx="11124255" cy="2286000"/>
          </a:xfrm>
        </p:grpSpPr>
        <p:sp>
          <p:nvSpPr>
            <p:cNvPr id="41" name="Rectangle 40"/>
            <p:cNvSpPr/>
            <p:nvPr userDrawn="1"/>
          </p:nvSpPr>
          <p:spPr>
            <a:xfrm>
              <a:off x="407988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4192909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7977831" y="3962400"/>
              <a:ext cx="3554412" cy="228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8373319" y="3927105"/>
            <a:ext cx="1060048" cy="656220"/>
            <a:chOff x="402908" y="4604216"/>
            <a:chExt cx="920734" cy="569978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46" name="TextBox 45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3</a:t>
              </a:r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4391628" y="3927105"/>
            <a:ext cx="1060048" cy="656220"/>
            <a:chOff x="402908" y="4604216"/>
            <a:chExt cx="920734" cy="569978"/>
          </a:xfrm>
        </p:grpSpPr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2</a:t>
              </a:r>
            </a:p>
          </p:txBody>
        </p:sp>
      </p:grpSp>
      <p:grpSp>
        <p:nvGrpSpPr>
          <p:cNvPr id="54" name="Group 53"/>
          <p:cNvGrpSpPr/>
          <p:nvPr userDrawn="1"/>
        </p:nvGrpSpPr>
        <p:grpSpPr>
          <a:xfrm>
            <a:off x="617317" y="3927105"/>
            <a:ext cx="1060048" cy="656220"/>
            <a:chOff x="402908" y="4604216"/>
            <a:chExt cx="920734" cy="569978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908" y="4604216"/>
              <a:ext cx="920734" cy="569978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588264" y="4685498"/>
              <a:ext cx="477849" cy="3475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01</a:t>
              </a:r>
            </a:p>
          </p:txBody>
        </p:sp>
      </p:grpSp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741" y="1862571"/>
            <a:ext cx="3193059" cy="197870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384726" y="1360456"/>
            <a:ext cx="1694139" cy="1933432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541" y="1862571"/>
            <a:ext cx="3193059" cy="1978701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701" y="1395468"/>
            <a:ext cx="2168659" cy="2008131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8381" y="1862571"/>
            <a:ext cx="3193059" cy="1978701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360" y="1578863"/>
            <a:ext cx="1996972" cy="1727697"/>
          </a:xfrm>
          <a:prstGeom prst="rect">
            <a:avLst/>
          </a:prstGeom>
        </p:spPr>
      </p:pic>
      <p:sp>
        <p:nvSpPr>
          <p:cNvPr id="35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843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907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59872" y="4675270"/>
            <a:ext cx="3373328" cy="152233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6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27">
            <a:hlinkClick r:id="rId7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69" name="Rectangle 27">
            <a:hlinkClick r:id="rId7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70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71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772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10"/>
          <p:cNvSpPr>
            <a:spLocks/>
          </p:cNvSpPr>
          <p:nvPr userDrawn="1"/>
        </p:nvSpPr>
        <p:spPr bwMode="auto">
          <a:xfrm>
            <a:off x="0" y="0"/>
            <a:ext cx="4191000" cy="6799548"/>
          </a:xfrm>
          <a:custGeom>
            <a:avLst/>
            <a:gdLst>
              <a:gd name="T0" fmla="*/ 0 w 532"/>
              <a:gd name="T1" fmla="*/ 0 h 861"/>
              <a:gd name="T2" fmla="*/ 0 w 532"/>
              <a:gd name="T3" fmla="*/ 727 h 861"/>
              <a:gd name="T4" fmla="*/ 532 w 532"/>
              <a:gd name="T5" fmla="*/ 616 h 861"/>
              <a:gd name="T6" fmla="*/ 532 w 532"/>
              <a:gd name="T7" fmla="*/ 0 h 861"/>
              <a:gd name="T8" fmla="*/ 0 w 532"/>
              <a:gd name="T9" fmla="*/ 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2" h="861">
                <a:moveTo>
                  <a:pt x="0" y="0"/>
                </a:moveTo>
                <a:cubicBezTo>
                  <a:pt x="0" y="727"/>
                  <a:pt x="0" y="727"/>
                  <a:pt x="0" y="727"/>
                </a:cubicBezTo>
                <a:cubicBezTo>
                  <a:pt x="63" y="743"/>
                  <a:pt x="532" y="861"/>
                  <a:pt x="532" y="616"/>
                </a:cubicBezTo>
                <a:cubicBezTo>
                  <a:pt x="532" y="0"/>
                  <a:pt x="532" y="0"/>
                  <a:pt x="53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0" name="Picture 4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1441812"/>
            <a:ext cx="2971800" cy="5011222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8836" y="1382131"/>
            <a:ext cx="3373328" cy="24622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8836" y="1890131"/>
            <a:ext cx="2079721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40463" y="1412874"/>
            <a:ext cx="5543549" cy="504016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22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4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5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6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4185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86200"/>
            <a:ext cx="9319260" cy="25761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" name="Freeform 24"/>
          <p:cNvSpPr/>
          <p:nvPr userDrawn="1"/>
        </p:nvSpPr>
        <p:spPr>
          <a:xfrm>
            <a:off x="5120014" y="1680518"/>
            <a:ext cx="7071986" cy="5177482"/>
          </a:xfrm>
          <a:custGeom>
            <a:avLst/>
            <a:gdLst>
              <a:gd name="connsiteX0" fmla="*/ 7071986 w 7071986"/>
              <a:gd name="connsiteY0" fmla="*/ 0 h 5177482"/>
              <a:gd name="connsiteX1" fmla="*/ 7071986 w 7071986"/>
              <a:gd name="connsiteY1" fmla="*/ 5177482 h 5177482"/>
              <a:gd name="connsiteX2" fmla="*/ 418101 w 7071986"/>
              <a:gd name="connsiteY2" fmla="*/ 5177482 h 5177482"/>
              <a:gd name="connsiteX3" fmla="*/ 364654 w 7071986"/>
              <a:gd name="connsiteY3" fmla="*/ 4968325 h 5177482"/>
              <a:gd name="connsiteX4" fmla="*/ 0 w 7071986"/>
              <a:gd name="connsiteY4" fmla="*/ 3541321 h 5177482"/>
              <a:gd name="connsiteX5" fmla="*/ 3728314 w 7071986"/>
              <a:gd name="connsiteY5" fmla="*/ 1575222 h 5177482"/>
              <a:gd name="connsiteX6" fmla="*/ 7065199 w 7071986"/>
              <a:gd name="connsiteY6" fmla="*/ 3119 h 5177482"/>
              <a:gd name="connsiteX7" fmla="*/ 7071986 w 7071986"/>
              <a:gd name="connsiteY7" fmla="*/ 0 h 5177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71986" h="5177482">
                <a:moveTo>
                  <a:pt x="7071986" y="0"/>
                </a:moveTo>
                <a:lnTo>
                  <a:pt x="7071986" y="5177482"/>
                </a:lnTo>
                <a:lnTo>
                  <a:pt x="418101" y="5177482"/>
                </a:lnTo>
                <a:lnTo>
                  <a:pt x="364654" y="4968325"/>
                </a:lnTo>
                <a:cubicBezTo>
                  <a:pt x="0" y="3541321"/>
                  <a:pt x="0" y="3541321"/>
                  <a:pt x="0" y="3541321"/>
                </a:cubicBezTo>
                <a:cubicBezTo>
                  <a:pt x="1109586" y="2904634"/>
                  <a:pt x="2352357" y="2249268"/>
                  <a:pt x="3728314" y="1575222"/>
                </a:cubicBezTo>
                <a:cubicBezTo>
                  <a:pt x="4522805" y="1180753"/>
                  <a:pt x="6066379" y="462615"/>
                  <a:pt x="7065199" y="3119"/>
                </a:cubicBezTo>
                <a:lnTo>
                  <a:pt x="70719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856419" y="1375746"/>
            <a:ext cx="5927594" cy="4974907"/>
            <a:chOff x="5532556" y="1291077"/>
            <a:chExt cx="5927594" cy="4974907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32556" y="1291077"/>
              <a:ext cx="5927594" cy="4974907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6217920" y="525018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10%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139940" y="448818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20%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8100060" y="3756661"/>
              <a:ext cx="1219200" cy="461665"/>
            </a:xfrm>
            <a:prstGeom prst="rect">
              <a:avLst/>
            </a:prstGeom>
          </p:spPr>
          <p:txBody>
            <a:bodyPr wrap="square" lIns="0" tIns="0" rIns="0" bIns="9144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30%</a:t>
              </a:r>
            </a:p>
          </p:txBody>
        </p:sp>
      </p:grp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4083602"/>
            <a:ext cx="4591062" cy="217041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26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8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3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0953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 userDrawn="1"/>
        </p:nvSpPr>
        <p:spPr>
          <a:xfrm>
            <a:off x="-19436" y="0"/>
            <a:ext cx="8471853" cy="6858000"/>
          </a:xfrm>
          <a:custGeom>
            <a:avLst/>
            <a:gdLst>
              <a:gd name="connsiteX0" fmla="*/ 0 w 8471853"/>
              <a:gd name="connsiteY0" fmla="*/ 0 h 6858000"/>
              <a:gd name="connsiteX1" fmla="*/ 4495269 w 8471853"/>
              <a:gd name="connsiteY1" fmla="*/ 851475 h 6858000"/>
              <a:gd name="connsiteX2" fmla="*/ 8471853 w 8471853"/>
              <a:gd name="connsiteY2" fmla="*/ 1803973 h 6858000"/>
              <a:gd name="connsiteX3" fmla="*/ 8471853 w 8471853"/>
              <a:gd name="connsiteY3" fmla="*/ 6626401 h 6858000"/>
              <a:gd name="connsiteX4" fmla="*/ 8471853 w 8471853"/>
              <a:gd name="connsiteY4" fmla="*/ 6858000 h 6858000"/>
              <a:gd name="connsiteX5" fmla="*/ 0 w 8471853"/>
              <a:gd name="connsiteY5" fmla="*/ 6858000 h 6858000"/>
              <a:gd name="connsiteX6" fmla="*/ 0 w 8471853"/>
              <a:gd name="connsiteY6" fmla="*/ 6823731 h 6858000"/>
              <a:gd name="connsiteX7" fmla="*/ 0 w 8471853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71853" h="6858000">
                <a:moveTo>
                  <a:pt x="0" y="0"/>
                </a:moveTo>
                <a:cubicBezTo>
                  <a:pt x="115264" y="14432"/>
                  <a:pt x="3212965" y="577272"/>
                  <a:pt x="4495269" y="851475"/>
                </a:cubicBezTo>
                <a:cubicBezTo>
                  <a:pt x="5950468" y="1154543"/>
                  <a:pt x="7275996" y="1472042"/>
                  <a:pt x="8471853" y="1803973"/>
                </a:cubicBezTo>
                <a:cubicBezTo>
                  <a:pt x="8471853" y="1803973"/>
                  <a:pt x="8471853" y="1803973"/>
                  <a:pt x="8471853" y="6626401"/>
                </a:cubicBezTo>
                <a:lnTo>
                  <a:pt x="8471853" y="6858000"/>
                </a:lnTo>
                <a:lnTo>
                  <a:pt x="0" y="6858000"/>
                </a:lnTo>
                <a:lnTo>
                  <a:pt x="0" y="6823731"/>
                </a:lnTo>
                <a:cubicBezTo>
                  <a:pt x="0" y="5587721"/>
                  <a:pt x="0" y="350602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0242" y="2946400"/>
            <a:ext cx="3512278" cy="315396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933768"/>
            <a:ext cx="9864476" cy="47910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8836" y="1524000"/>
            <a:ext cx="5701406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29800" y="1830614"/>
            <a:ext cx="1954212" cy="243658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829800" y="5899190"/>
            <a:ext cx="1954212" cy="55399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1">
                <a:solidFill>
                  <a:schemeClr val="accent4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2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26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1"/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28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4543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Shapes - 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 userDrawn="1"/>
        </p:nvSpPr>
        <p:spPr>
          <a:xfrm>
            <a:off x="2421624" y="4103226"/>
            <a:ext cx="9770376" cy="2754775"/>
          </a:xfrm>
          <a:custGeom>
            <a:avLst/>
            <a:gdLst>
              <a:gd name="connsiteX0" fmla="*/ 3514064 w 9770376"/>
              <a:gd name="connsiteY0" fmla="*/ 0 h 2754775"/>
              <a:gd name="connsiteX1" fmla="*/ 9770376 w 9770376"/>
              <a:gd name="connsiteY1" fmla="*/ 0 h 2754775"/>
              <a:gd name="connsiteX2" fmla="*/ 9770376 w 9770376"/>
              <a:gd name="connsiteY2" fmla="*/ 2754775 h 2754775"/>
              <a:gd name="connsiteX3" fmla="*/ 0 w 9770376"/>
              <a:gd name="connsiteY3" fmla="*/ 2754775 h 2754775"/>
              <a:gd name="connsiteX4" fmla="*/ 12200 w 9770376"/>
              <a:gd name="connsiteY4" fmla="*/ 2696642 h 2754775"/>
              <a:gd name="connsiteX5" fmla="*/ 3514064 w 9770376"/>
              <a:gd name="connsiteY5" fmla="*/ 0 h 275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770376" h="2754775">
                <a:moveTo>
                  <a:pt x="3514064" y="0"/>
                </a:moveTo>
                <a:cubicBezTo>
                  <a:pt x="3514064" y="0"/>
                  <a:pt x="3514064" y="0"/>
                  <a:pt x="9770376" y="0"/>
                </a:cubicBezTo>
                <a:lnTo>
                  <a:pt x="9770376" y="2754775"/>
                </a:lnTo>
                <a:lnTo>
                  <a:pt x="0" y="2754775"/>
                </a:lnTo>
                <a:lnTo>
                  <a:pt x="12200" y="2696642"/>
                </a:lnTo>
                <a:cubicBezTo>
                  <a:pt x="419422" y="1115950"/>
                  <a:pt x="1846958" y="0"/>
                  <a:pt x="351406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  <a:endParaRPr lang="pt-PT"/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22222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/>
              <a:t>Click to insert text</a:t>
            </a:r>
            <a:endParaRPr lang="pt-PT" sz="160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/>
              <a:t>Click to insert text</a:t>
            </a:r>
            <a:endParaRPr lang="pt-PT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/>
              <a:t>Click to insert text</a:t>
            </a:r>
            <a:endParaRPr lang="pt-PT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6100" y="2397346"/>
            <a:ext cx="1447800" cy="142734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63940" y="2397346"/>
            <a:ext cx="1219200" cy="14273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7389" y="2472545"/>
            <a:ext cx="1135766" cy="12311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5232" y="2397346"/>
            <a:ext cx="1092708" cy="1427349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5404518" y="3855720"/>
            <a:ext cx="737292" cy="517956"/>
            <a:chOff x="4724400" y="3918586"/>
            <a:chExt cx="861243" cy="605034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7192678" y="3855720"/>
            <a:ext cx="737292" cy="517956"/>
            <a:chOff x="4724400" y="3918586"/>
            <a:chExt cx="861243" cy="605034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9011318" y="3855720"/>
            <a:ext cx="737292" cy="517956"/>
            <a:chOff x="4724400" y="3918586"/>
            <a:chExt cx="861243" cy="605034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0657238" y="3855720"/>
            <a:ext cx="737292" cy="517956"/>
            <a:chOff x="4724400" y="3918586"/>
            <a:chExt cx="861243" cy="605034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4400" y="3918586"/>
              <a:ext cx="861243" cy="605034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4876217" y="3953867"/>
              <a:ext cx="556505" cy="3954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0522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10554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90586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60890" y="4532993"/>
            <a:ext cx="1334870" cy="141060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cxnSp>
        <p:nvCxnSpPr>
          <p:cNvPr id="4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3256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27">
            <a:hlinkClick r:id="rId7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99153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esentation Title</a:t>
            </a:r>
          </a:p>
        </p:txBody>
      </p:sp>
      <p:sp>
        <p:nvSpPr>
          <p:cNvPr id="42" name="Rectangle 27">
            <a:hlinkClick r:id="rId7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1577791" y="6555971"/>
            <a:ext cx="1039812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43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094314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</a:t>
            </a:r>
            <a:r>
              <a:rPr lang="en-US" sz="80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Sogeti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cxnSp>
        <p:nvCxnSpPr>
          <p:cNvPr id="4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950720" y="6587911"/>
            <a:ext cx="0" cy="155576"/>
          </a:xfrm>
          <a:prstGeom prst="line">
            <a:avLst/>
          </a:prstGeom>
          <a:solidFill>
            <a:schemeClr val="tx1"/>
          </a:solidFill>
          <a:ln w="635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844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>
                <a:solidFill>
                  <a:schemeClr val="tx2"/>
                </a:solidFill>
              </a:rPr>
              <a:t>Primary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86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34" r:id="rId10"/>
    <p:sldLayoutId id="2147483828" r:id="rId11"/>
    <p:sldLayoutId id="2147483829" r:id="rId12"/>
    <p:sldLayoutId id="2147483830" r:id="rId13"/>
    <p:sldLayoutId id="2147483835" r:id="rId14"/>
    <p:sldLayoutId id="2147483739" r:id="rId15"/>
    <p:sldLayoutId id="2147483883" r:id="rId16"/>
    <p:sldLayoutId id="2147483886" r:id="rId17"/>
    <p:sldLayoutId id="2147483887" r:id="rId18"/>
    <p:sldLayoutId id="214748388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3761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014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78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</p:sldLayoutIdLst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  <p:sldLayoutId id="2147483795" r:id="rId3"/>
    <p:sldLayoutId id="2147483732" r:id="rId4"/>
    <p:sldLayoutId id="2147483836" r:id="rId5"/>
    <p:sldLayoutId id="2147483884" r:id="rId6"/>
    <p:sldLayoutId id="214748388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495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spring.io/spring-security/reference/servlet/exploits/headers.html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8.png"/><Relationship Id="rId17" Type="http://schemas.openxmlformats.org/officeDocument/2006/relationships/image" Target="../media/image6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62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7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61.svg"/><Relationship Id="rId10" Type="http://schemas.openxmlformats.org/officeDocument/2006/relationships/image" Target="../media/image5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55.svg"/><Relationship Id="rId14" Type="http://schemas.openxmlformats.org/officeDocument/2006/relationships/image" Target="../media/image6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spring.io/spring-security/reference/index.html" TargetMode="Externa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D8910-21E6-4D72-B467-710EEDBDF096}"/>
              </a:ext>
            </a:extLst>
          </p:cNvPr>
          <p:cNvSpPr txBox="1">
            <a:spLocks/>
          </p:cNvSpPr>
          <p:nvPr/>
        </p:nvSpPr>
        <p:spPr>
          <a:xfrm>
            <a:off x="1564210" y="5832843"/>
            <a:ext cx="3106048" cy="3604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ad Software Architect</a:t>
            </a:r>
          </a:p>
          <a:p>
            <a:r>
              <a:rPr lang="en-US" sz="1400" dirty="0" err="1">
                <a:solidFill>
                  <a:schemeClr val="accent2"/>
                </a:solidFill>
              </a:rPr>
              <a:t>vishal.b.shinde@sogeti.com</a:t>
            </a:r>
            <a:endParaRPr lang="en-US" sz="1400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EBE811-CFE5-459A-9070-C7D1477C6A4B}"/>
              </a:ext>
            </a:extLst>
          </p:cNvPr>
          <p:cNvSpPr txBox="1">
            <a:spLocks/>
          </p:cNvSpPr>
          <p:nvPr/>
        </p:nvSpPr>
        <p:spPr>
          <a:xfrm>
            <a:off x="1564992" y="5517585"/>
            <a:ext cx="3106048" cy="3604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Vishal Shin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F7F77C-0E6C-5346-A9A9-E8E97F2163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098" y="4922991"/>
            <a:ext cx="1293725" cy="1549627"/>
          </a:xfrm>
          <a:prstGeom prst="rect">
            <a:avLst/>
          </a:prstGeom>
        </p:spPr>
      </p:pic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F297907D-BE76-D849-91F7-C3CA0C53023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63300" y="5829300"/>
            <a:ext cx="812800" cy="812800"/>
          </a:xfrm>
          <a:prstGeom prst="rect">
            <a:avLst/>
          </a:prstGeom>
        </p:spPr>
      </p:pic>
      <p:pic>
        <p:nvPicPr>
          <p:cNvPr id="1026" name="Picture 2" descr="spring-security">
            <a:extLst>
              <a:ext uri="{FF2B5EF4-FFF2-40B4-BE49-F238E27FC236}">
                <a16:creationId xmlns:a16="http://schemas.microsoft.com/office/drawing/2014/main" id="{ACC7F045-6530-582B-70C3-368F521C9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354" y="1246887"/>
            <a:ext cx="4611236" cy="258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41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10"/>
    </mc:Choice>
    <mc:Fallback xmlns="">
      <p:transition spd="slow" advTm="3410"/>
    </mc:Fallback>
  </mc:AlternateContent>
  <p:timing>
    <p:tnLst>
      <p:par>
        <p:cTn id="1" dur="indefinite" restart="never" nodeType="tmRoot">
          <p:childTnLst>
            <p:audio isNarration="1">
              <p:cMediaNode vol="80000" showWhenStopped="0">
                <p:cTn id="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EA71E-8572-364E-B5F6-E4E5A8C7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1" y="104122"/>
            <a:ext cx="6230560" cy="823733"/>
          </a:xfrm>
        </p:spPr>
        <p:txBody>
          <a:bodyPr>
            <a:normAutofit/>
          </a:bodyPr>
          <a:lstStyle/>
          <a:p>
            <a:r>
              <a:rPr lang="en-US" sz="3200" dirty="0"/>
              <a:t>Authentication Flow</a:t>
            </a:r>
          </a:p>
        </p:txBody>
      </p:sp>
      <p:graphicFrame>
        <p:nvGraphicFramePr>
          <p:cNvPr id="26" name="Content Placeholder 25">
            <a:extLst>
              <a:ext uri="{FF2B5EF4-FFF2-40B4-BE49-F238E27FC236}">
                <a16:creationId xmlns:a16="http://schemas.microsoft.com/office/drawing/2014/main" id="{ED9096D2-8063-0C45-FFBA-541AAC64D36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3742516"/>
              </p:ext>
            </p:extLst>
          </p:nvPr>
        </p:nvGraphicFramePr>
        <p:xfrm>
          <a:off x="4111247" y="3772209"/>
          <a:ext cx="7974413" cy="29938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F5638F4-11C9-5C4A-AA10-74E7D1A3775D}"/>
              </a:ext>
            </a:extLst>
          </p:cNvPr>
          <p:cNvSpPr/>
          <p:nvPr/>
        </p:nvSpPr>
        <p:spPr>
          <a:xfrm>
            <a:off x="1047995" y="2552148"/>
            <a:ext cx="2016822" cy="648182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AuthenticationFilte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1B2212-2BAD-FD46-8225-4D00B0C2D661}"/>
              </a:ext>
            </a:extLst>
          </p:cNvPr>
          <p:cNvSpPr/>
          <p:nvPr/>
        </p:nvSpPr>
        <p:spPr>
          <a:xfrm>
            <a:off x="3705588" y="2566935"/>
            <a:ext cx="2289533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henticationManager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2C73CE-EC13-8246-93D5-57EBAD24E325}"/>
              </a:ext>
            </a:extLst>
          </p:cNvPr>
          <p:cNvSpPr/>
          <p:nvPr/>
        </p:nvSpPr>
        <p:spPr>
          <a:xfrm>
            <a:off x="6938284" y="2628349"/>
            <a:ext cx="218026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henticationProvider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8844FE-BAF4-3840-8333-20497939B9F0}"/>
              </a:ext>
            </a:extLst>
          </p:cNvPr>
          <p:cNvSpPr/>
          <p:nvPr/>
        </p:nvSpPr>
        <p:spPr>
          <a:xfrm>
            <a:off x="1047994" y="927855"/>
            <a:ext cx="2014127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henticationToken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1FCBF28-A6C0-8B4B-887A-50F2A03D6A24}"/>
              </a:ext>
            </a:extLst>
          </p:cNvPr>
          <p:cNvCxnSpPr>
            <a:cxnSpLocks/>
          </p:cNvCxnSpPr>
          <p:nvPr/>
        </p:nvCxnSpPr>
        <p:spPr>
          <a:xfrm>
            <a:off x="3108529" y="2751386"/>
            <a:ext cx="5970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CFB9766-F10E-7D4C-BDED-041A08C5C188}"/>
              </a:ext>
            </a:extLst>
          </p:cNvPr>
          <p:cNvCxnSpPr>
            <a:cxnSpLocks/>
          </p:cNvCxnSpPr>
          <p:nvPr/>
        </p:nvCxnSpPr>
        <p:spPr>
          <a:xfrm>
            <a:off x="2310697" y="1576037"/>
            <a:ext cx="1" cy="976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F2CE126-CA9B-2849-9104-70F55CB397C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230051" y="2876239"/>
            <a:ext cx="81794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4F2A78E-3C88-F844-901C-2D58CCD05EE0}"/>
              </a:ext>
            </a:extLst>
          </p:cNvPr>
          <p:cNvSpPr txBox="1"/>
          <p:nvPr/>
        </p:nvSpPr>
        <p:spPr>
          <a:xfrm>
            <a:off x="-35160" y="2552149"/>
            <a:ext cx="1083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1.Request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8BFA630-930F-E645-810A-02716F14B639}"/>
              </a:ext>
            </a:extLst>
          </p:cNvPr>
          <p:cNvCxnSpPr>
            <a:cxnSpLocks/>
          </p:cNvCxnSpPr>
          <p:nvPr/>
        </p:nvCxnSpPr>
        <p:spPr>
          <a:xfrm flipH="1" flipV="1">
            <a:off x="1839269" y="1556705"/>
            <a:ext cx="5245" cy="9954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B400FB8C-8365-A44C-A28E-28EC434DB77B}"/>
              </a:ext>
            </a:extLst>
          </p:cNvPr>
          <p:cNvSpPr txBox="1"/>
          <p:nvPr/>
        </p:nvSpPr>
        <p:spPr>
          <a:xfrm>
            <a:off x="1564334" y="1956677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E8C93-0723-B146-B7B7-A32DD9D3B3C3}"/>
              </a:ext>
            </a:extLst>
          </p:cNvPr>
          <p:cNvSpPr txBox="1"/>
          <p:nvPr/>
        </p:nvSpPr>
        <p:spPr>
          <a:xfrm>
            <a:off x="2314869" y="1951059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D7494E-4337-5E4F-AE17-1A742FF47605}"/>
              </a:ext>
            </a:extLst>
          </p:cNvPr>
          <p:cNvCxnSpPr>
            <a:cxnSpLocks/>
          </p:cNvCxnSpPr>
          <p:nvPr/>
        </p:nvCxnSpPr>
        <p:spPr>
          <a:xfrm flipH="1">
            <a:off x="3062121" y="3076622"/>
            <a:ext cx="6071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A5811065-EF85-D64F-854C-D17803C53C2E}"/>
              </a:ext>
            </a:extLst>
          </p:cNvPr>
          <p:cNvSpPr txBox="1"/>
          <p:nvPr/>
        </p:nvSpPr>
        <p:spPr>
          <a:xfrm>
            <a:off x="3200504" y="2489853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9A5A334-DD4B-DE4A-A50B-B235D6F7A589}"/>
              </a:ext>
            </a:extLst>
          </p:cNvPr>
          <p:cNvSpPr txBox="1"/>
          <p:nvPr/>
        </p:nvSpPr>
        <p:spPr>
          <a:xfrm>
            <a:off x="6253992" y="2533912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FC6DD9A-CAD5-4441-A6B3-AB1CBD665AD5}"/>
              </a:ext>
            </a:extLst>
          </p:cNvPr>
          <p:cNvSpPr txBox="1"/>
          <p:nvPr/>
        </p:nvSpPr>
        <p:spPr>
          <a:xfrm>
            <a:off x="9410699" y="2525966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5A2D782A-EF4F-E047-8FC8-3EC22990EB82}"/>
              </a:ext>
            </a:extLst>
          </p:cNvPr>
          <p:cNvCxnSpPr>
            <a:cxnSpLocks/>
          </p:cNvCxnSpPr>
          <p:nvPr/>
        </p:nvCxnSpPr>
        <p:spPr>
          <a:xfrm>
            <a:off x="6043088" y="2795625"/>
            <a:ext cx="8951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24645C6-C133-2548-A4F4-C4AA7C3B1912}"/>
              </a:ext>
            </a:extLst>
          </p:cNvPr>
          <p:cNvSpPr/>
          <p:nvPr/>
        </p:nvSpPr>
        <p:spPr>
          <a:xfrm>
            <a:off x="10024152" y="2621344"/>
            <a:ext cx="1937797" cy="648182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UserDetailsService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13CC67D7-5208-3A47-B349-6A722E9A9117}"/>
              </a:ext>
            </a:extLst>
          </p:cNvPr>
          <p:cNvCxnSpPr>
            <a:cxnSpLocks/>
          </p:cNvCxnSpPr>
          <p:nvPr/>
        </p:nvCxnSpPr>
        <p:spPr>
          <a:xfrm>
            <a:off x="9118545" y="2796031"/>
            <a:ext cx="8398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83F42C6-70B8-0047-93A1-C764103C49AD}"/>
              </a:ext>
            </a:extLst>
          </p:cNvPr>
          <p:cNvCxnSpPr>
            <a:cxnSpLocks/>
          </p:cNvCxnSpPr>
          <p:nvPr/>
        </p:nvCxnSpPr>
        <p:spPr>
          <a:xfrm flipH="1">
            <a:off x="9118545" y="3081892"/>
            <a:ext cx="8398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48CE13E2-AD50-B443-8373-7B70103B8511}"/>
              </a:ext>
            </a:extLst>
          </p:cNvPr>
          <p:cNvSpPr txBox="1"/>
          <p:nvPr/>
        </p:nvSpPr>
        <p:spPr>
          <a:xfrm>
            <a:off x="9410699" y="3122900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6159654-D4CA-7E49-95B8-4B7C240944CC}"/>
              </a:ext>
            </a:extLst>
          </p:cNvPr>
          <p:cNvSpPr txBox="1"/>
          <p:nvPr/>
        </p:nvSpPr>
        <p:spPr>
          <a:xfrm>
            <a:off x="6242857" y="3138034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8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B035A71C-F736-264F-BD28-121C2B43A24B}"/>
              </a:ext>
            </a:extLst>
          </p:cNvPr>
          <p:cNvCxnSpPr>
            <a:cxnSpLocks/>
          </p:cNvCxnSpPr>
          <p:nvPr/>
        </p:nvCxnSpPr>
        <p:spPr>
          <a:xfrm flipH="1">
            <a:off x="5995121" y="3127990"/>
            <a:ext cx="94316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E9079187-342A-9C4A-8C52-487F1DBF89B0}"/>
              </a:ext>
            </a:extLst>
          </p:cNvPr>
          <p:cNvSpPr txBox="1"/>
          <p:nvPr/>
        </p:nvSpPr>
        <p:spPr>
          <a:xfrm>
            <a:off x="3194020" y="3061834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9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59B463D-761B-DF43-8929-DC43CB9F8E4D}"/>
              </a:ext>
            </a:extLst>
          </p:cNvPr>
          <p:cNvSpPr txBox="1"/>
          <p:nvPr/>
        </p:nvSpPr>
        <p:spPr>
          <a:xfrm>
            <a:off x="1487978" y="3338825"/>
            <a:ext cx="4219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0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45D87BC9-45E2-904A-B876-C8D48E685362}"/>
              </a:ext>
            </a:extLst>
          </p:cNvPr>
          <p:cNvCxnSpPr>
            <a:cxnSpLocks/>
            <a:stCxn id="8" idx="2"/>
            <a:endCxn id="4" idx="0"/>
          </p:cNvCxnSpPr>
          <p:nvPr/>
        </p:nvCxnSpPr>
        <p:spPr>
          <a:xfrm>
            <a:off x="2056406" y="3200330"/>
            <a:ext cx="0" cy="5752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F60000FA-B6AB-69C5-EF4F-F9C695D7FA65}"/>
              </a:ext>
            </a:extLst>
          </p:cNvPr>
          <p:cNvGrpSpPr/>
          <p:nvPr/>
        </p:nvGrpSpPr>
        <p:grpSpPr>
          <a:xfrm>
            <a:off x="891248" y="3775622"/>
            <a:ext cx="2330315" cy="1061651"/>
            <a:chOff x="8288977" y="1825625"/>
            <a:chExt cx="3491345" cy="208135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BF76E88-970B-95AC-8D38-455C578D3E22}"/>
                </a:ext>
              </a:extLst>
            </p:cNvPr>
            <p:cNvSpPr/>
            <p:nvPr/>
          </p:nvSpPr>
          <p:spPr>
            <a:xfrm>
              <a:off x="8288977" y="1825625"/>
              <a:ext cx="3491345" cy="2081357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 err="1">
                  <a:solidFill>
                    <a:schemeClr val="tx1"/>
                  </a:solidFill>
                </a:rPr>
                <a:t>SecurityContextHolder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D605B4C-947C-BCD2-E7E8-B57CB4F39573}"/>
                </a:ext>
              </a:extLst>
            </p:cNvPr>
            <p:cNvSpPr/>
            <p:nvPr/>
          </p:nvSpPr>
          <p:spPr>
            <a:xfrm>
              <a:off x="8478982" y="2327564"/>
              <a:ext cx="3099460" cy="1436914"/>
            </a:xfrm>
            <a:prstGeom prst="round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Security Context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263BB0AE-2209-3018-5A12-70356080C319}"/>
                </a:ext>
              </a:extLst>
            </p:cNvPr>
            <p:cNvSpPr/>
            <p:nvPr/>
          </p:nvSpPr>
          <p:spPr>
            <a:xfrm>
              <a:off x="8645236" y="2790700"/>
              <a:ext cx="2708564" cy="878773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>
                  <a:solidFill>
                    <a:sysClr val="windowText" lastClr="000000"/>
                  </a:solidFill>
                </a:rPr>
                <a:t>Authentication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FF8AA1F-A6A8-CB3D-B3C0-46C36D481AF7}"/>
              </a:ext>
            </a:extLst>
          </p:cNvPr>
          <p:cNvSpPr/>
          <p:nvPr/>
        </p:nvSpPr>
        <p:spPr>
          <a:xfrm>
            <a:off x="6914832" y="1351948"/>
            <a:ext cx="2203713" cy="586085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PasswordEncoder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E10361-2519-6858-E27F-79F2AA5FD11C}"/>
              </a:ext>
            </a:extLst>
          </p:cNvPr>
          <p:cNvSpPr/>
          <p:nvPr/>
        </p:nvSpPr>
        <p:spPr>
          <a:xfrm>
            <a:off x="9987577" y="1352174"/>
            <a:ext cx="2014128" cy="586085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AuthStore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09F48BF-B5D4-5F14-C0FE-C29FDD1C4DA5}"/>
              </a:ext>
            </a:extLst>
          </p:cNvPr>
          <p:cNvCxnSpPr>
            <a:stCxn id="99" idx="0"/>
            <a:endCxn id="21" idx="2"/>
          </p:cNvCxnSpPr>
          <p:nvPr/>
        </p:nvCxnSpPr>
        <p:spPr>
          <a:xfrm flipV="1">
            <a:off x="10993051" y="1938259"/>
            <a:ext cx="1590" cy="6830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6E31FC4-029F-11B4-7A30-C4972B05A66D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H="1" flipV="1">
            <a:off x="8016689" y="1938033"/>
            <a:ext cx="11726" cy="6903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ouble Bracket 26">
            <a:extLst>
              <a:ext uri="{FF2B5EF4-FFF2-40B4-BE49-F238E27FC236}">
                <a16:creationId xmlns:a16="http://schemas.microsoft.com/office/drawing/2014/main" id="{3B9D7E9C-4E17-7D5C-4100-DB840176AB2A}"/>
              </a:ext>
            </a:extLst>
          </p:cNvPr>
          <p:cNvSpPr/>
          <p:nvPr/>
        </p:nvSpPr>
        <p:spPr>
          <a:xfrm>
            <a:off x="1018068" y="5062330"/>
            <a:ext cx="1918811" cy="742122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000" b="1" dirty="0"/>
              <a:t>Principal</a:t>
            </a:r>
          </a:p>
          <a:p>
            <a:pPr algn="ctr"/>
            <a:r>
              <a:rPr lang="en-US" sz="1000" b="1" dirty="0"/>
              <a:t>+</a:t>
            </a:r>
          </a:p>
          <a:p>
            <a:pPr algn="ctr"/>
            <a:r>
              <a:rPr lang="en-US" sz="1000" b="1" dirty="0"/>
              <a:t>Authorities(Roles)</a:t>
            </a:r>
          </a:p>
          <a:p>
            <a:pPr algn="ctr"/>
            <a:r>
              <a:rPr lang="en-US" sz="1000" b="1" dirty="0"/>
              <a:t>+</a:t>
            </a:r>
          </a:p>
          <a:p>
            <a:pPr algn="ctr"/>
            <a:r>
              <a:rPr lang="en-US" sz="1000" b="1" dirty="0"/>
              <a:t>Authenticated flag=true</a:t>
            </a:r>
          </a:p>
        </p:txBody>
      </p:sp>
    </p:spTree>
    <p:extLst>
      <p:ext uri="{BB962C8B-B14F-4D97-AF65-F5344CB8AC3E}">
        <p14:creationId xmlns:p14="http://schemas.microsoft.com/office/powerpoint/2010/main" val="2567922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05C9F783-FBD0-7943-AD91-EE9980DEE4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394D9315-9EE7-8847-B4D8-779037D767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B4C77371-AADF-0945-9D2C-701E21DEB2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2A448188-9B99-1B48-928D-C2293E5135F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17986BC5-FE0A-F34D-B03A-8D9E9016AF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42038757-F688-EA4F-9533-EE17B2C978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C3F5A2B7-D507-A042-BCA0-B04F578F14B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665D1A06-288E-5C4B-B38C-FAD4F1F92AA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FD16C3E8-894C-EF48-B894-83AE2066C4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DB8A3212-D22F-8944-8A47-4533111C15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AD1A3F38-22D8-C343-91E4-ECB91E029A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192CA8E5-E31C-B047-AB5B-5B289DE3B0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537E84F6-16FD-6242-ABF4-2D051171204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677DE988-7AC9-EB49-86AC-A9FE703090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0E2BD839-C964-E744-BD9D-A917F9F8E4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graphicEl>
                                              <a:dgm id="{33ED1BAD-5962-3F41-92EC-6DB610C3084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6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EA71E-8572-364E-B5F6-E4E5A8C7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1" y="104122"/>
            <a:ext cx="6230560" cy="823733"/>
          </a:xfrm>
        </p:spPr>
        <p:txBody>
          <a:bodyPr>
            <a:normAutofit/>
          </a:bodyPr>
          <a:lstStyle/>
          <a:p>
            <a:r>
              <a:rPr lang="en-US" sz="3200" dirty="0"/>
              <a:t>Authentication Archite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5638F4-11C9-5C4A-AA10-74E7D1A3775D}"/>
              </a:ext>
            </a:extLst>
          </p:cNvPr>
          <p:cNvSpPr/>
          <p:nvPr/>
        </p:nvSpPr>
        <p:spPr>
          <a:xfrm>
            <a:off x="1047995" y="3699971"/>
            <a:ext cx="1766105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uthenticationFilter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1B2212-2BAD-FD46-8225-4D00B0C2D661}"/>
              </a:ext>
            </a:extLst>
          </p:cNvPr>
          <p:cNvSpPr/>
          <p:nvPr/>
        </p:nvSpPr>
        <p:spPr>
          <a:xfrm>
            <a:off x="3411159" y="3699971"/>
            <a:ext cx="2034870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uthenticationManager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2C73CE-EC13-8246-93D5-57EBAD24E325}"/>
              </a:ext>
            </a:extLst>
          </p:cNvPr>
          <p:cNvSpPr/>
          <p:nvPr/>
        </p:nvSpPr>
        <p:spPr>
          <a:xfrm>
            <a:off x="6938284" y="3776172"/>
            <a:ext cx="1937797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AuthenticationProvider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7A9413-B738-DD47-8E2F-0F4D044DB4EF}"/>
              </a:ext>
            </a:extLst>
          </p:cNvPr>
          <p:cNvSpPr/>
          <p:nvPr/>
        </p:nvSpPr>
        <p:spPr>
          <a:xfrm>
            <a:off x="3408708" y="4685913"/>
            <a:ext cx="1937797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ProviderManager</a:t>
            </a:r>
            <a:endParaRPr lang="en-US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8844FE-BAF4-3840-8333-20497939B9F0}"/>
              </a:ext>
            </a:extLst>
          </p:cNvPr>
          <p:cNvSpPr/>
          <p:nvPr/>
        </p:nvSpPr>
        <p:spPr>
          <a:xfrm>
            <a:off x="1047994" y="2075678"/>
            <a:ext cx="1766105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uthenticationToke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09EEC3-98E4-1048-951A-F457B7404979}"/>
              </a:ext>
            </a:extLst>
          </p:cNvPr>
          <p:cNvSpPr/>
          <p:nvPr/>
        </p:nvSpPr>
        <p:spPr>
          <a:xfrm>
            <a:off x="4792406" y="2552148"/>
            <a:ext cx="2271534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DaoAuthenticationProvider</a:t>
            </a:r>
            <a:endParaRPr lang="en-US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F34EDA-A865-8C48-B2F0-A6BF30A6EED9}"/>
              </a:ext>
            </a:extLst>
          </p:cNvPr>
          <p:cNvSpPr/>
          <p:nvPr/>
        </p:nvSpPr>
        <p:spPr>
          <a:xfrm>
            <a:off x="7267458" y="2552148"/>
            <a:ext cx="2461070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LdapAuthenticationProvider</a:t>
            </a:r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980B5-8EC3-2148-9D99-73CB17E51854}"/>
              </a:ext>
            </a:extLst>
          </p:cNvPr>
          <p:cNvSpPr/>
          <p:nvPr/>
        </p:nvSpPr>
        <p:spPr>
          <a:xfrm>
            <a:off x="10045382" y="2552148"/>
            <a:ext cx="1889569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CustomAuthenticationProvider</a:t>
            </a:r>
            <a:endParaRPr lang="en-US" sz="1200" dirty="0"/>
          </a:p>
        </p:txBody>
      </p:sp>
      <p:cxnSp>
        <p:nvCxnSpPr>
          <p:cNvPr id="18" name="Elbow Connector 17">
            <a:extLst>
              <a:ext uri="{FF2B5EF4-FFF2-40B4-BE49-F238E27FC236}">
                <a16:creationId xmlns:a16="http://schemas.microsoft.com/office/drawing/2014/main" id="{E3C6E1B3-0E5E-774A-8B90-F649CD3EFC61}"/>
              </a:ext>
            </a:extLst>
          </p:cNvPr>
          <p:cNvCxnSpPr>
            <a:cxnSpLocks/>
            <a:stCxn id="10" idx="0"/>
            <a:endCxn id="14" idx="2"/>
          </p:cNvCxnSpPr>
          <p:nvPr/>
        </p:nvCxnSpPr>
        <p:spPr>
          <a:xfrm rot="16200000" flipV="1">
            <a:off x="6629757" y="2498746"/>
            <a:ext cx="575842" cy="197901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6DA2FCB2-8478-374F-A092-072F50811E1E}"/>
              </a:ext>
            </a:extLst>
          </p:cNvPr>
          <p:cNvCxnSpPr>
            <a:cxnSpLocks/>
            <a:stCxn id="10" idx="0"/>
            <a:endCxn id="15" idx="2"/>
          </p:cNvCxnSpPr>
          <p:nvPr/>
        </p:nvCxnSpPr>
        <p:spPr>
          <a:xfrm rot="5400000" flipH="1" flipV="1">
            <a:off x="7914667" y="3192846"/>
            <a:ext cx="575842" cy="59081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61B8C464-A5E2-D041-B300-315DBECEC7F1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9160754" y="1946759"/>
            <a:ext cx="575842" cy="30829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F644806E-FD1D-3843-9B72-856C88673AC7}"/>
              </a:ext>
            </a:extLst>
          </p:cNvPr>
          <p:cNvSpPr/>
          <p:nvPr/>
        </p:nvSpPr>
        <p:spPr>
          <a:xfrm>
            <a:off x="307221" y="927855"/>
            <a:ext cx="1766105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UsernamePasswordAuthenticationToken</a:t>
            </a:r>
            <a:endParaRPr lang="en-US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489411-7CB2-FD43-ABB1-F116B3C60FC4}"/>
              </a:ext>
            </a:extLst>
          </p:cNvPr>
          <p:cNvSpPr/>
          <p:nvPr/>
        </p:nvSpPr>
        <p:spPr>
          <a:xfrm>
            <a:off x="2399099" y="927855"/>
            <a:ext cx="2393307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OpenIDAuthenticationToken</a:t>
            </a:r>
            <a:endParaRPr lang="en-US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0EDE538-AF26-894F-9F43-BE75EE7EFDC4}"/>
              </a:ext>
            </a:extLst>
          </p:cNvPr>
          <p:cNvSpPr/>
          <p:nvPr/>
        </p:nvSpPr>
        <p:spPr>
          <a:xfrm>
            <a:off x="5346505" y="927855"/>
            <a:ext cx="2393307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CustomAuthenticationToken</a:t>
            </a:r>
            <a:endParaRPr lang="en-US" sz="1200" dirty="0"/>
          </a:p>
        </p:txBody>
      </p: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6ED3FC92-927C-A040-B8FA-07CFCC644652}"/>
              </a:ext>
            </a:extLst>
          </p:cNvPr>
          <p:cNvCxnSpPr>
            <a:cxnSpLocks/>
            <a:stCxn id="12" idx="0"/>
            <a:endCxn id="23" idx="2"/>
          </p:cNvCxnSpPr>
          <p:nvPr/>
        </p:nvCxnSpPr>
        <p:spPr>
          <a:xfrm rot="16200000" flipV="1">
            <a:off x="1310841" y="1455471"/>
            <a:ext cx="499641" cy="74077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6AA4AFCB-15F2-8A48-837A-9BEF985630D4}"/>
              </a:ext>
            </a:extLst>
          </p:cNvPr>
          <p:cNvCxnSpPr>
            <a:cxnSpLocks/>
            <a:stCxn id="12" idx="0"/>
            <a:endCxn id="24" idx="2"/>
          </p:cNvCxnSpPr>
          <p:nvPr/>
        </p:nvCxnSpPr>
        <p:spPr>
          <a:xfrm rot="5400000" flipH="1" flipV="1">
            <a:off x="2513580" y="993505"/>
            <a:ext cx="499641" cy="166470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2929E837-6642-7E46-807E-C73C69156F6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 rot="5400000">
            <a:off x="4234221" y="4491540"/>
            <a:ext cx="337760" cy="5098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1FCBF28-A6C0-8B4B-887A-50F2A03D6A24}"/>
              </a:ext>
            </a:extLst>
          </p:cNvPr>
          <p:cNvCxnSpPr>
            <a:cxnSpLocks/>
          </p:cNvCxnSpPr>
          <p:nvPr/>
        </p:nvCxnSpPr>
        <p:spPr>
          <a:xfrm>
            <a:off x="2814100" y="3885163"/>
            <a:ext cx="5970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>
            <a:extLst>
              <a:ext uri="{FF2B5EF4-FFF2-40B4-BE49-F238E27FC236}">
                <a16:creationId xmlns:a16="http://schemas.microsoft.com/office/drawing/2014/main" id="{7D47850D-E166-C14C-B264-F714FB3E5877}"/>
              </a:ext>
            </a:extLst>
          </p:cNvPr>
          <p:cNvCxnSpPr>
            <a:cxnSpLocks/>
            <a:stCxn id="12" idx="0"/>
            <a:endCxn id="25" idx="2"/>
          </p:cNvCxnSpPr>
          <p:nvPr/>
        </p:nvCxnSpPr>
        <p:spPr>
          <a:xfrm rot="5400000" flipH="1" flipV="1">
            <a:off x="3987283" y="-480198"/>
            <a:ext cx="499641" cy="461211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CFB9766-F10E-7D4C-BDED-041A08C5C188}"/>
              </a:ext>
            </a:extLst>
          </p:cNvPr>
          <p:cNvCxnSpPr>
            <a:cxnSpLocks/>
          </p:cNvCxnSpPr>
          <p:nvPr/>
        </p:nvCxnSpPr>
        <p:spPr>
          <a:xfrm>
            <a:off x="2127817" y="2723860"/>
            <a:ext cx="1" cy="976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F2CE126-CA9B-2849-9104-70F55CB397C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230051" y="4024062"/>
            <a:ext cx="81794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4F2A78E-3C88-F844-901C-2D58CCD05EE0}"/>
              </a:ext>
            </a:extLst>
          </p:cNvPr>
          <p:cNvSpPr txBox="1"/>
          <p:nvPr/>
        </p:nvSpPr>
        <p:spPr>
          <a:xfrm>
            <a:off x="190021" y="3699971"/>
            <a:ext cx="8579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.Request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8BFA630-930F-E645-810A-02716F14B639}"/>
              </a:ext>
            </a:extLst>
          </p:cNvPr>
          <p:cNvCxnSpPr>
            <a:cxnSpLocks/>
          </p:cNvCxnSpPr>
          <p:nvPr/>
        </p:nvCxnSpPr>
        <p:spPr>
          <a:xfrm flipH="1" flipV="1">
            <a:off x="1656389" y="2704528"/>
            <a:ext cx="5245" cy="9954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B400FB8C-8365-A44C-A28E-28EC434DB77B}"/>
              </a:ext>
            </a:extLst>
          </p:cNvPr>
          <p:cNvSpPr txBox="1"/>
          <p:nvPr/>
        </p:nvSpPr>
        <p:spPr>
          <a:xfrm>
            <a:off x="1381454" y="3104500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E8C93-0723-B146-B7B7-A32DD9D3B3C3}"/>
              </a:ext>
            </a:extLst>
          </p:cNvPr>
          <p:cNvSpPr txBox="1"/>
          <p:nvPr/>
        </p:nvSpPr>
        <p:spPr>
          <a:xfrm>
            <a:off x="2131989" y="3098882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D7494E-4337-5E4F-AE17-1A742FF47605}"/>
              </a:ext>
            </a:extLst>
          </p:cNvPr>
          <p:cNvCxnSpPr>
            <a:cxnSpLocks/>
          </p:cNvCxnSpPr>
          <p:nvPr/>
        </p:nvCxnSpPr>
        <p:spPr>
          <a:xfrm flipH="1">
            <a:off x="2792399" y="4191725"/>
            <a:ext cx="6071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A5811065-EF85-D64F-854C-D17803C53C2E}"/>
              </a:ext>
            </a:extLst>
          </p:cNvPr>
          <p:cNvSpPr txBox="1"/>
          <p:nvPr/>
        </p:nvSpPr>
        <p:spPr>
          <a:xfrm>
            <a:off x="2980790" y="3622218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9A5A334-DD4B-DE4A-A50B-B235D6F7A589}"/>
              </a:ext>
            </a:extLst>
          </p:cNvPr>
          <p:cNvSpPr txBox="1"/>
          <p:nvPr/>
        </p:nvSpPr>
        <p:spPr>
          <a:xfrm>
            <a:off x="6043088" y="3666457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FC6DD9A-CAD5-4441-A6B3-AB1CBD665AD5}"/>
              </a:ext>
            </a:extLst>
          </p:cNvPr>
          <p:cNvSpPr txBox="1"/>
          <p:nvPr/>
        </p:nvSpPr>
        <p:spPr>
          <a:xfrm>
            <a:off x="9184296" y="3685250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5A2D782A-EF4F-E047-8FC8-3EC22990EB82}"/>
              </a:ext>
            </a:extLst>
          </p:cNvPr>
          <p:cNvCxnSpPr>
            <a:cxnSpLocks/>
          </p:cNvCxnSpPr>
          <p:nvPr/>
        </p:nvCxnSpPr>
        <p:spPr>
          <a:xfrm>
            <a:off x="5488117" y="3943448"/>
            <a:ext cx="14501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24645C6-C133-2548-A4F4-C4AA7C3B1912}"/>
              </a:ext>
            </a:extLst>
          </p:cNvPr>
          <p:cNvSpPr/>
          <p:nvPr/>
        </p:nvSpPr>
        <p:spPr>
          <a:xfrm>
            <a:off x="9627821" y="3753168"/>
            <a:ext cx="1937797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UserDetailsServic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13CC67D7-5208-3A47-B349-6A722E9A9117}"/>
              </a:ext>
            </a:extLst>
          </p:cNvPr>
          <p:cNvCxnSpPr/>
          <p:nvPr/>
        </p:nvCxnSpPr>
        <p:spPr>
          <a:xfrm>
            <a:off x="8876081" y="3961767"/>
            <a:ext cx="7517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83F42C6-70B8-0047-93A1-C764103C49AD}"/>
              </a:ext>
            </a:extLst>
          </p:cNvPr>
          <p:cNvCxnSpPr>
            <a:cxnSpLocks/>
          </p:cNvCxnSpPr>
          <p:nvPr/>
        </p:nvCxnSpPr>
        <p:spPr>
          <a:xfrm flipH="1">
            <a:off x="8864506" y="4247985"/>
            <a:ext cx="7517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48CE13E2-AD50-B443-8373-7B70103B8511}"/>
              </a:ext>
            </a:extLst>
          </p:cNvPr>
          <p:cNvSpPr txBox="1"/>
          <p:nvPr/>
        </p:nvSpPr>
        <p:spPr>
          <a:xfrm>
            <a:off x="9206661" y="4285858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6159654-D4CA-7E49-95B8-4B7C240944CC}"/>
              </a:ext>
            </a:extLst>
          </p:cNvPr>
          <p:cNvSpPr txBox="1"/>
          <p:nvPr/>
        </p:nvSpPr>
        <p:spPr>
          <a:xfrm>
            <a:off x="6047032" y="4285857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8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B035A71C-F736-264F-BD28-121C2B43A24B}"/>
              </a:ext>
            </a:extLst>
          </p:cNvPr>
          <p:cNvCxnSpPr>
            <a:cxnSpLocks/>
          </p:cNvCxnSpPr>
          <p:nvPr/>
        </p:nvCxnSpPr>
        <p:spPr>
          <a:xfrm flipH="1" flipV="1">
            <a:off x="5488117" y="4271626"/>
            <a:ext cx="1450167" cy="41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E9079187-342A-9C4A-8C52-487F1DBF89B0}"/>
              </a:ext>
            </a:extLst>
          </p:cNvPr>
          <p:cNvSpPr txBox="1"/>
          <p:nvPr/>
        </p:nvSpPr>
        <p:spPr>
          <a:xfrm>
            <a:off x="2955602" y="4224445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9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45D87BC9-45E2-904A-B876-C8D48E685362}"/>
              </a:ext>
            </a:extLst>
          </p:cNvPr>
          <p:cNvCxnSpPr>
            <a:stCxn id="8" idx="2"/>
          </p:cNvCxnSpPr>
          <p:nvPr/>
        </p:nvCxnSpPr>
        <p:spPr>
          <a:xfrm flipH="1">
            <a:off x="1931046" y="4348153"/>
            <a:ext cx="2" cy="514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FFF5724-98FA-A753-231C-3F01C17DF02B}"/>
              </a:ext>
            </a:extLst>
          </p:cNvPr>
          <p:cNvSpPr/>
          <p:nvPr/>
        </p:nvSpPr>
        <p:spPr>
          <a:xfrm>
            <a:off x="135529" y="4877126"/>
            <a:ext cx="2209496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BasicAuthenticationFilter</a:t>
            </a:r>
            <a:endParaRPr lang="en-US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9522264-9DB1-ECEB-DC1E-45261E07149C}"/>
              </a:ext>
            </a:extLst>
          </p:cNvPr>
          <p:cNvSpPr/>
          <p:nvPr/>
        </p:nvSpPr>
        <p:spPr>
          <a:xfrm>
            <a:off x="1533517" y="5671855"/>
            <a:ext cx="1766105" cy="6481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UsernamePasswordAuthenticationFilter</a:t>
            </a:r>
            <a:endParaRPr lang="en-US" sz="1200" dirty="0"/>
          </a:p>
        </p:txBody>
      </p:sp>
      <p:cxnSp>
        <p:nvCxnSpPr>
          <p:cNvPr id="34" name="Elbow Connector 33">
            <a:extLst>
              <a:ext uri="{FF2B5EF4-FFF2-40B4-BE49-F238E27FC236}">
                <a16:creationId xmlns:a16="http://schemas.microsoft.com/office/drawing/2014/main" id="{128DD399-8FCE-AF98-7EF8-313164AA4243}"/>
              </a:ext>
            </a:extLst>
          </p:cNvPr>
          <p:cNvCxnSpPr>
            <a:cxnSpLocks/>
            <a:stCxn id="8" idx="2"/>
            <a:endCxn id="32" idx="0"/>
          </p:cNvCxnSpPr>
          <p:nvPr/>
        </p:nvCxnSpPr>
        <p:spPr>
          <a:xfrm rot="16200000" flipH="1">
            <a:off x="1511958" y="4767243"/>
            <a:ext cx="1323702" cy="485522"/>
          </a:xfrm>
          <a:prstGeom prst="bentConnector3">
            <a:avLst>
              <a:gd name="adj1" fmla="val 1696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297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0EE1EB-BA7B-F307-8FF6-9B7BA2192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0C9097-335D-8C22-C38E-1DCBF3CC2C6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BD05BF-416A-1E86-C5F2-4871D5D1C8D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6A4527F7-2B1E-39D2-4525-7FA2EE9F08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554453"/>
              </p:ext>
            </p:extLst>
          </p:nvPr>
        </p:nvGraphicFramePr>
        <p:xfrm>
          <a:off x="6240463" y="1412874"/>
          <a:ext cx="5543549" cy="5040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74308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CC2557-EA3C-8E35-8D68-7332AAB2BC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uthorization</a:t>
            </a:r>
          </a:p>
        </p:txBody>
      </p:sp>
      <p:graphicFrame>
        <p:nvGraphicFramePr>
          <p:cNvPr id="2" name="Content Placeholder 8">
            <a:extLst>
              <a:ext uri="{FF2B5EF4-FFF2-40B4-BE49-F238E27FC236}">
                <a16:creationId xmlns:a16="http://schemas.microsoft.com/office/drawing/2014/main" id="{6FF56F43-DCA0-4264-AAEC-16EDBFDCDD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1800668"/>
              </p:ext>
            </p:extLst>
          </p:nvPr>
        </p:nvGraphicFramePr>
        <p:xfrm>
          <a:off x="407988" y="3227118"/>
          <a:ext cx="3626922" cy="274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145255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EA71E-8572-364E-B5F6-E4E5A8C7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1" y="104122"/>
            <a:ext cx="11709054" cy="823733"/>
          </a:xfrm>
        </p:spPr>
        <p:txBody>
          <a:bodyPr>
            <a:normAutofit/>
          </a:bodyPr>
          <a:lstStyle/>
          <a:p>
            <a:pPr algn="r"/>
            <a:r>
              <a:rPr lang="en-US" sz="3200" dirty="0"/>
              <a:t>Authorization Fl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5638F4-11C9-5C4A-AA10-74E7D1A3775D}"/>
              </a:ext>
            </a:extLst>
          </p:cNvPr>
          <p:cNvSpPr/>
          <p:nvPr/>
        </p:nvSpPr>
        <p:spPr>
          <a:xfrm>
            <a:off x="2266834" y="2609849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FilterSecurityIntercepto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1B2212-2BAD-FD46-8225-4D00B0C2D661}"/>
              </a:ext>
            </a:extLst>
          </p:cNvPr>
          <p:cNvSpPr/>
          <p:nvPr/>
        </p:nvSpPr>
        <p:spPr>
          <a:xfrm>
            <a:off x="5378583" y="2609849"/>
            <a:ext cx="2614733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AccessDecisionManag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8844FE-BAF4-3840-8333-20497939B9F0}"/>
              </a:ext>
            </a:extLst>
          </p:cNvPr>
          <p:cNvSpPr/>
          <p:nvPr/>
        </p:nvSpPr>
        <p:spPr>
          <a:xfrm>
            <a:off x="2646560" y="927855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SecurityMetadataSourc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1FCBF28-A6C0-8B4B-887A-50F2A03D6A24}"/>
              </a:ext>
            </a:extLst>
          </p:cNvPr>
          <p:cNvCxnSpPr>
            <a:cxnSpLocks/>
          </p:cNvCxnSpPr>
          <p:nvPr/>
        </p:nvCxnSpPr>
        <p:spPr>
          <a:xfrm>
            <a:off x="4781524" y="2795041"/>
            <a:ext cx="5970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F2CE126-CA9B-2849-9104-70F55CB397C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1055077" y="2933940"/>
            <a:ext cx="1211757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4F2A78E-3C88-F844-901C-2D58CCD05EE0}"/>
              </a:ext>
            </a:extLst>
          </p:cNvPr>
          <p:cNvSpPr txBox="1"/>
          <p:nvPr/>
        </p:nvSpPr>
        <p:spPr>
          <a:xfrm>
            <a:off x="1055077" y="2607689"/>
            <a:ext cx="13955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Request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8BFA630-930F-E645-810A-02716F14B639}"/>
              </a:ext>
            </a:extLst>
          </p:cNvPr>
          <p:cNvCxnSpPr>
            <a:cxnSpLocks/>
          </p:cNvCxnSpPr>
          <p:nvPr/>
        </p:nvCxnSpPr>
        <p:spPr>
          <a:xfrm flipH="1" flipV="1">
            <a:off x="3623813" y="1614406"/>
            <a:ext cx="5245" cy="99544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B400FB8C-8365-A44C-A28E-28EC434DB77B}"/>
              </a:ext>
            </a:extLst>
          </p:cNvPr>
          <p:cNvSpPr txBox="1"/>
          <p:nvPr/>
        </p:nvSpPr>
        <p:spPr>
          <a:xfrm>
            <a:off x="3348878" y="2014378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E8C93-0723-B146-B7B7-A32DD9D3B3C3}"/>
              </a:ext>
            </a:extLst>
          </p:cNvPr>
          <p:cNvSpPr txBox="1"/>
          <p:nvPr/>
        </p:nvSpPr>
        <p:spPr>
          <a:xfrm>
            <a:off x="4831640" y="2204169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D7494E-4337-5E4F-AE17-1A742FF47605}"/>
              </a:ext>
            </a:extLst>
          </p:cNvPr>
          <p:cNvCxnSpPr>
            <a:cxnSpLocks/>
          </p:cNvCxnSpPr>
          <p:nvPr/>
        </p:nvCxnSpPr>
        <p:spPr>
          <a:xfrm flipH="1">
            <a:off x="4759823" y="3101603"/>
            <a:ext cx="6071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A5811065-EF85-D64F-854C-D17803C53C2E}"/>
              </a:ext>
            </a:extLst>
          </p:cNvPr>
          <p:cNvSpPr txBox="1"/>
          <p:nvPr/>
        </p:nvSpPr>
        <p:spPr>
          <a:xfrm>
            <a:off x="4948214" y="2532096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9079187-342A-9C4A-8C52-487F1DBF89B0}"/>
              </a:ext>
            </a:extLst>
          </p:cNvPr>
          <p:cNvSpPr txBox="1"/>
          <p:nvPr/>
        </p:nvSpPr>
        <p:spPr>
          <a:xfrm>
            <a:off x="4923026" y="3134323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59B463D-761B-DF43-8929-DC43CB9F8E4D}"/>
              </a:ext>
            </a:extLst>
          </p:cNvPr>
          <p:cNvSpPr txBox="1"/>
          <p:nvPr/>
        </p:nvSpPr>
        <p:spPr>
          <a:xfrm>
            <a:off x="3536426" y="3342498"/>
            <a:ext cx="3409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45D87BC9-45E2-904A-B876-C8D48E685362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3524180" y="3258031"/>
            <a:ext cx="9600" cy="602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49FAA8C-732A-5642-85B8-3160B38206A9}"/>
              </a:ext>
            </a:extLst>
          </p:cNvPr>
          <p:cNvSpPr/>
          <p:nvPr/>
        </p:nvSpPr>
        <p:spPr>
          <a:xfrm>
            <a:off x="8847673" y="2624636"/>
            <a:ext cx="2431893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AccessDecisionVoter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6C08633-A3ED-2343-96A0-8BAC9A7E5F91}"/>
              </a:ext>
            </a:extLst>
          </p:cNvPr>
          <p:cNvCxnSpPr>
            <a:cxnSpLocks/>
          </p:cNvCxnSpPr>
          <p:nvPr/>
        </p:nvCxnSpPr>
        <p:spPr>
          <a:xfrm>
            <a:off x="8018504" y="2791604"/>
            <a:ext cx="8291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0C01A38-56E5-BA4F-8D75-EAA5A79326F7}"/>
              </a:ext>
            </a:extLst>
          </p:cNvPr>
          <p:cNvCxnSpPr>
            <a:cxnSpLocks/>
          </p:cNvCxnSpPr>
          <p:nvPr/>
        </p:nvCxnSpPr>
        <p:spPr>
          <a:xfrm flipH="1">
            <a:off x="8018504" y="3101603"/>
            <a:ext cx="8291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47457ECA-1EB5-0444-89E6-D6AD48CA4551}"/>
              </a:ext>
            </a:extLst>
          </p:cNvPr>
          <p:cNvSpPr txBox="1"/>
          <p:nvPr/>
        </p:nvSpPr>
        <p:spPr>
          <a:xfrm>
            <a:off x="8268366" y="2530511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2C217BF-969A-6D42-9774-7B04A0CD5973}"/>
              </a:ext>
            </a:extLst>
          </p:cNvPr>
          <p:cNvSpPr txBox="1"/>
          <p:nvPr/>
        </p:nvSpPr>
        <p:spPr>
          <a:xfrm>
            <a:off x="8293445" y="3134323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</a:t>
            </a:r>
          </a:p>
        </p:txBody>
      </p:sp>
      <p:sp>
        <p:nvSpPr>
          <p:cNvPr id="3" name="Double Brace 2">
            <a:extLst>
              <a:ext uri="{FF2B5EF4-FFF2-40B4-BE49-F238E27FC236}">
                <a16:creationId xmlns:a16="http://schemas.microsoft.com/office/drawing/2014/main" id="{45A14ABF-6C66-7F0C-31C8-D1141B69A0CD}"/>
              </a:ext>
            </a:extLst>
          </p:cNvPr>
          <p:cNvSpPr/>
          <p:nvPr/>
        </p:nvSpPr>
        <p:spPr>
          <a:xfrm>
            <a:off x="190021" y="997885"/>
            <a:ext cx="2260648" cy="446169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 sz="1000" dirty="0">
              <a:solidFill>
                <a:srgbClr val="FF0000"/>
              </a:solidFill>
            </a:endParaRPr>
          </a:p>
          <a:p>
            <a:r>
              <a:rPr lang="en-US" sz="1000" dirty="0">
                <a:solidFill>
                  <a:srgbClr val="FF0000"/>
                </a:solidFill>
              </a:rPr>
              <a:t>Request Pattern: /messages/**</a:t>
            </a:r>
          </a:p>
          <a:p>
            <a:endParaRPr lang="en-US" sz="1000" dirty="0">
              <a:solidFill>
                <a:srgbClr val="FF0000"/>
              </a:solidFill>
            </a:endParaRPr>
          </a:p>
          <a:p>
            <a:r>
              <a:rPr lang="en-US" sz="1000" dirty="0">
                <a:solidFill>
                  <a:srgbClr val="FF0000"/>
                </a:solidFill>
              </a:rPr>
              <a:t>Config </a:t>
            </a:r>
            <a:r>
              <a:rPr lang="en-US" sz="1000" dirty="0" err="1">
                <a:solidFill>
                  <a:srgbClr val="FF0000"/>
                </a:solidFill>
              </a:rPr>
              <a:t>Attr</a:t>
            </a:r>
            <a:r>
              <a:rPr lang="en-US" sz="1000" dirty="0">
                <a:solidFill>
                  <a:srgbClr val="FF0000"/>
                </a:solidFill>
              </a:rPr>
              <a:t>: ROLE_USER, ROLE_ADMIN</a:t>
            </a:r>
          </a:p>
          <a:p>
            <a:endParaRPr lang="en-US" sz="1000" dirty="0">
              <a:solidFill>
                <a:srgbClr val="FF0000"/>
              </a:solidFill>
            </a:endParaRPr>
          </a:p>
          <a:p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1C34C5-0812-C4C6-F946-5411E95C2DC9}"/>
              </a:ext>
            </a:extLst>
          </p:cNvPr>
          <p:cNvSpPr/>
          <p:nvPr/>
        </p:nvSpPr>
        <p:spPr>
          <a:xfrm>
            <a:off x="2276434" y="3860799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xceptionTranslationFilter</a:t>
            </a: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FD3BF431-3D4B-3502-C5B5-58F8F143465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0860684"/>
              </p:ext>
            </p:extLst>
          </p:nvPr>
        </p:nvGraphicFramePr>
        <p:xfrm>
          <a:off x="470290" y="4690318"/>
          <a:ext cx="10515600" cy="20635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32EC16E3-F1CC-A1D4-CEDE-6F8018E73B93}"/>
              </a:ext>
            </a:extLst>
          </p:cNvPr>
          <p:cNvGrpSpPr/>
          <p:nvPr/>
        </p:nvGrpSpPr>
        <p:grpSpPr>
          <a:xfrm>
            <a:off x="5663001" y="908696"/>
            <a:ext cx="2330315" cy="1061651"/>
            <a:chOff x="8288977" y="1825625"/>
            <a:chExt cx="3491345" cy="208135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E9ADB16-C620-A82E-22D8-FC6C3878852F}"/>
                </a:ext>
              </a:extLst>
            </p:cNvPr>
            <p:cNvSpPr/>
            <p:nvPr/>
          </p:nvSpPr>
          <p:spPr>
            <a:xfrm>
              <a:off x="8288977" y="1825625"/>
              <a:ext cx="3491345" cy="2081357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 err="1">
                  <a:solidFill>
                    <a:schemeClr val="tx1"/>
                  </a:solidFill>
                </a:rPr>
                <a:t>SecurityContextHolder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BC5E2389-3F2B-3B27-371E-E2ACA45D8B11}"/>
                </a:ext>
              </a:extLst>
            </p:cNvPr>
            <p:cNvSpPr/>
            <p:nvPr/>
          </p:nvSpPr>
          <p:spPr>
            <a:xfrm>
              <a:off x="8478982" y="2327564"/>
              <a:ext cx="3099460" cy="1436914"/>
            </a:xfrm>
            <a:prstGeom prst="round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Security Context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26D0797F-3923-3D14-BF2E-3A14B4C539AA}"/>
                </a:ext>
              </a:extLst>
            </p:cNvPr>
            <p:cNvSpPr/>
            <p:nvPr/>
          </p:nvSpPr>
          <p:spPr>
            <a:xfrm>
              <a:off x="8645236" y="2790700"/>
              <a:ext cx="2708564" cy="878773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b="1" dirty="0">
                  <a:solidFill>
                    <a:sysClr val="windowText" lastClr="000000"/>
                  </a:solidFill>
                </a:rPr>
                <a:t>Authentication</a:t>
              </a:r>
            </a:p>
          </p:txBody>
        </p:sp>
      </p:grp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685CC736-209C-1F7E-6BCB-D06252FB1698}"/>
              </a:ext>
            </a:extLst>
          </p:cNvPr>
          <p:cNvCxnSpPr>
            <a:endCxn id="28" idx="2"/>
          </p:cNvCxnSpPr>
          <p:nvPr/>
        </p:nvCxnSpPr>
        <p:spPr>
          <a:xfrm flipV="1">
            <a:off x="3623813" y="1970347"/>
            <a:ext cx="3204346" cy="56016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>
            <a:extLst>
              <a:ext uri="{FF2B5EF4-FFF2-40B4-BE49-F238E27FC236}">
                <a16:creationId xmlns:a16="http://schemas.microsoft.com/office/drawing/2014/main" id="{5733A997-55E2-BECA-E061-49EDA20B836C}"/>
              </a:ext>
            </a:extLst>
          </p:cNvPr>
          <p:cNvCxnSpPr/>
          <p:nvPr/>
        </p:nvCxnSpPr>
        <p:spPr>
          <a:xfrm rot="10800000" flipV="1">
            <a:off x="4923026" y="3342497"/>
            <a:ext cx="1745060" cy="92001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4371338-F907-1A5D-0076-F3BA2B5CE2DC}"/>
              </a:ext>
            </a:extLst>
          </p:cNvPr>
          <p:cNvSpPr txBox="1"/>
          <p:nvPr/>
        </p:nvSpPr>
        <p:spPr>
          <a:xfrm>
            <a:off x="5720459" y="3796372"/>
            <a:ext cx="19881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solidFill>
                  <a:srgbClr val="FF0000"/>
                </a:solidFill>
              </a:rPr>
              <a:t>AccessDeniedException</a:t>
            </a:r>
            <a:endParaRPr 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39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EA71E-8572-364E-B5F6-E4E5A8C7C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1" y="104122"/>
            <a:ext cx="11709054" cy="823733"/>
          </a:xfrm>
        </p:spPr>
        <p:txBody>
          <a:bodyPr>
            <a:normAutofit/>
          </a:bodyPr>
          <a:lstStyle/>
          <a:p>
            <a:pPr algn="r"/>
            <a:r>
              <a:rPr lang="en-US" sz="3200" dirty="0"/>
              <a:t>Authorization Fl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5638F4-11C9-5C4A-AA10-74E7D1A3775D}"/>
              </a:ext>
            </a:extLst>
          </p:cNvPr>
          <p:cNvSpPr/>
          <p:nvPr/>
        </p:nvSpPr>
        <p:spPr>
          <a:xfrm>
            <a:off x="2112166" y="3411707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FilterSecurityIntercepto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1B2212-2BAD-FD46-8225-4D00B0C2D661}"/>
              </a:ext>
            </a:extLst>
          </p:cNvPr>
          <p:cNvSpPr/>
          <p:nvPr/>
        </p:nvSpPr>
        <p:spPr>
          <a:xfrm>
            <a:off x="5223915" y="3411707"/>
            <a:ext cx="2614733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AccessDecisionManag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8844FE-BAF4-3840-8333-20497939B9F0}"/>
              </a:ext>
            </a:extLst>
          </p:cNvPr>
          <p:cNvSpPr/>
          <p:nvPr/>
        </p:nvSpPr>
        <p:spPr>
          <a:xfrm>
            <a:off x="2098278" y="1698522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SecurityMetadataSourc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1FCBF28-A6C0-8B4B-887A-50F2A03D6A24}"/>
              </a:ext>
            </a:extLst>
          </p:cNvPr>
          <p:cNvCxnSpPr>
            <a:cxnSpLocks/>
          </p:cNvCxnSpPr>
          <p:nvPr/>
        </p:nvCxnSpPr>
        <p:spPr>
          <a:xfrm>
            <a:off x="4626856" y="3596899"/>
            <a:ext cx="5970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CFB9766-F10E-7D4C-BDED-041A08C5C188}"/>
              </a:ext>
            </a:extLst>
          </p:cNvPr>
          <p:cNvCxnSpPr>
            <a:cxnSpLocks/>
          </p:cNvCxnSpPr>
          <p:nvPr/>
        </p:nvCxnSpPr>
        <p:spPr>
          <a:xfrm>
            <a:off x="3532610" y="2421528"/>
            <a:ext cx="1" cy="976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F2CE126-CA9B-2849-9104-70F55CB397C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900409" y="3735798"/>
            <a:ext cx="1211757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4F2A78E-3C88-F844-901C-2D58CCD05EE0}"/>
              </a:ext>
            </a:extLst>
          </p:cNvPr>
          <p:cNvSpPr txBox="1"/>
          <p:nvPr/>
        </p:nvSpPr>
        <p:spPr>
          <a:xfrm>
            <a:off x="900409" y="3409547"/>
            <a:ext cx="13955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Request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8BFA630-930F-E645-810A-02716F14B639}"/>
              </a:ext>
            </a:extLst>
          </p:cNvPr>
          <p:cNvCxnSpPr>
            <a:cxnSpLocks/>
          </p:cNvCxnSpPr>
          <p:nvPr/>
        </p:nvCxnSpPr>
        <p:spPr>
          <a:xfrm flipH="1" flipV="1">
            <a:off x="3061182" y="2402196"/>
            <a:ext cx="5245" cy="9954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B400FB8C-8365-A44C-A28E-28EC434DB77B}"/>
              </a:ext>
            </a:extLst>
          </p:cNvPr>
          <p:cNvSpPr txBox="1"/>
          <p:nvPr/>
        </p:nvSpPr>
        <p:spPr>
          <a:xfrm>
            <a:off x="2786247" y="2802168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E8C93-0723-B146-B7B7-A32DD9D3B3C3}"/>
              </a:ext>
            </a:extLst>
          </p:cNvPr>
          <p:cNvSpPr txBox="1"/>
          <p:nvPr/>
        </p:nvSpPr>
        <p:spPr>
          <a:xfrm>
            <a:off x="3536782" y="2796550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2D7494E-4337-5E4F-AE17-1A742FF47605}"/>
              </a:ext>
            </a:extLst>
          </p:cNvPr>
          <p:cNvCxnSpPr>
            <a:cxnSpLocks/>
          </p:cNvCxnSpPr>
          <p:nvPr/>
        </p:nvCxnSpPr>
        <p:spPr>
          <a:xfrm flipH="1">
            <a:off x="4605155" y="3903461"/>
            <a:ext cx="6071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A5811065-EF85-D64F-854C-D17803C53C2E}"/>
              </a:ext>
            </a:extLst>
          </p:cNvPr>
          <p:cNvSpPr txBox="1"/>
          <p:nvPr/>
        </p:nvSpPr>
        <p:spPr>
          <a:xfrm>
            <a:off x="4793546" y="3333954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9079187-342A-9C4A-8C52-487F1DBF89B0}"/>
              </a:ext>
            </a:extLst>
          </p:cNvPr>
          <p:cNvSpPr txBox="1"/>
          <p:nvPr/>
        </p:nvSpPr>
        <p:spPr>
          <a:xfrm>
            <a:off x="4768358" y="3936181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59B463D-761B-DF43-8929-DC43CB9F8E4D}"/>
              </a:ext>
            </a:extLst>
          </p:cNvPr>
          <p:cNvSpPr txBox="1"/>
          <p:nvPr/>
        </p:nvSpPr>
        <p:spPr>
          <a:xfrm>
            <a:off x="3381758" y="4144356"/>
            <a:ext cx="3409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45D87BC9-45E2-904A-B876-C8D48E685362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3369512" y="4059889"/>
            <a:ext cx="9600" cy="602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49FAA8C-732A-5642-85B8-3160B38206A9}"/>
              </a:ext>
            </a:extLst>
          </p:cNvPr>
          <p:cNvSpPr/>
          <p:nvPr/>
        </p:nvSpPr>
        <p:spPr>
          <a:xfrm>
            <a:off x="8693005" y="3426494"/>
            <a:ext cx="2431893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AccessDecisionVoter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6C08633-A3ED-2343-96A0-8BAC9A7E5F91}"/>
              </a:ext>
            </a:extLst>
          </p:cNvPr>
          <p:cNvCxnSpPr>
            <a:cxnSpLocks/>
          </p:cNvCxnSpPr>
          <p:nvPr/>
        </p:nvCxnSpPr>
        <p:spPr>
          <a:xfrm>
            <a:off x="7863836" y="3593462"/>
            <a:ext cx="8291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0C01A38-56E5-BA4F-8D75-EAA5A79326F7}"/>
              </a:ext>
            </a:extLst>
          </p:cNvPr>
          <p:cNvCxnSpPr>
            <a:cxnSpLocks/>
          </p:cNvCxnSpPr>
          <p:nvPr/>
        </p:nvCxnSpPr>
        <p:spPr>
          <a:xfrm flipH="1">
            <a:off x="7863836" y="3903461"/>
            <a:ext cx="8291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47457ECA-1EB5-0444-89E6-D6AD48CA4551}"/>
              </a:ext>
            </a:extLst>
          </p:cNvPr>
          <p:cNvSpPr txBox="1"/>
          <p:nvPr/>
        </p:nvSpPr>
        <p:spPr>
          <a:xfrm>
            <a:off x="8113698" y="3332369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2C217BF-969A-6D42-9774-7B04A0CD5973}"/>
              </a:ext>
            </a:extLst>
          </p:cNvPr>
          <p:cNvSpPr txBox="1"/>
          <p:nvPr/>
        </p:nvSpPr>
        <p:spPr>
          <a:xfrm>
            <a:off x="8138777" y="3936181"/>
            <a:ext cx="213038" cy="27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</a:t>
            </a:r>
          </a:p>
        </p:txBody>
      </p:sp>
      <p:sp>
        <p:nvSpPr>
          <p:cNvPr id="3" name="Double Brace 2">
            <a:extLst>
              <a:ext uri="{FF2B5EF4-FFF2-40B4-BE49-F238E27FC236}">
                <a16:creationId xmlns:a16="http://schemas.microsoft.com/office/drawing/2014/main" id="{45A14ABF-6C66-7F0C-31C8-D1141B69A0CD}"/>
              </a:ext>
            </a:extLst>
          </p:cNvPr>
          <p:cNvSpPr/>
          <p:nvPr/>
        </p:nvSpPr>
        <p:spPr>
          <a:xfrm>
            <a:off x="2402286" y="1025004"/>
            <a:ext cx="2260648" cy="446169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 sz="1000" dirty="0">
              <a:solidFill>
                <a:srgbClr val="FF0000"/>
              </a:solidFill>
            </a:endParaRPr>
          </a:p>
          <a:p>
            <a:r>
              <a:rPr lang="en-US" sz="1000" dirty="0">
                <a:solidFill>
                  <a:srgbClr val="FF0000"/>
                </a:solidFill>
              </a:rPr>
              <a:t>Request Pattern: /messages/**</a:t>
            </a:r>
          </a:p>
          <a:p>
            <a:endParaRPr lang="en-US" sz="1000" dirty="0">
              <a:solidFill>
                <a:srgbClr val="FF0000"/>
              </a:solidFill>
            </a:endParaRPr>
          </a:p>
          <a:p>
            <a:r>
              <a:rPr lang="en-US" sz="1000" dirty="0">
                <a:solidFill>
                  <a:srgbClr val="FF0000"/>
                </a:solidFill>
              </a:rPr>
              <a:t>Config </a:t>
            </a:r>
            <a:r>
              <a:rPr lang="en-US" sz="1000" dirty="0" err="1">
                <a:solidFill>
                  <a:srgbClr val="FF0000"/>
                </a:solidFill>
              </a:rPr>
              <a:t>Attr</a:t>
            </a:r>
            <a:r>
              <a:rPr lang="en-US" sz="1000" dirty="0">
                <a:solidFill>
                  <a:srgbClr val="FF0000"/>
                </a:solidFill>
              </a:rPr>
              <a:t>: ROLE_USER, ROLE_ADMIN</a:t>
            </a:r>
          </a:p>
          <a:p>
            <a:endParaRPr lang="en-US" sz="1000" dirty="0">
              <a:solidFill>
                <a:srgbClr val="FF0000"/>
              </a:solidFill>
            </a:endParaRPr>
          </a:p>
          <a:p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1C34C5-0812-C4C6-F946-5411E95C2DC9}"/>
              </a:ext>
            </a:extLst>
          </p:cNvPr>
          <p:cNvSpPr/>
          <p:nvPr/>
        </p:nvSpPr>
        <p:spPr>
          <a:xfrm>
            <a:off x="2121766" y="4662657"/>
            <a:ext cx="2514691" cy="64818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xceptionTranslationFilt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F9F48E6-E1D3-DCE4-2789-0DC1D3C954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54668" y="801858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8BEAD6-C7FB-A955-FF28-1C96556C037A}"/>
              </a:ext>
            </a:extLst>
          </p:cNvPr>
          <p:cNvSpPr/>
          <p:nvPr/>
        </p:nvSpPr>
        <p:spPr>
          <a:xfrm>
            <a:off x="4393262" y="2488908"/>
            <a:ext cx="1804037" cy="485257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AffirmativeBased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5088A6-529E-D5CE-D1F5-DB9A6FFA2FB6}"/>
              </a:ext>
            </a:extLst>
          </p:cNvPr>
          <p:cNvSpPr/>
          <p:nvPr/>
        </p:nvSpPr>
        <p:spPr>
          <a:xfrm>
            <a:off x="6309661" y="2489978"/>
            <a:ext cx="1804037" cy="485257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ConsensusBased</a:t>
            </a:r>
            <a:endParaRPr lang="en-US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56F0FB-8733-C112-6BAF-3E8D9D64C7C7}"/>
              </a:ext>
            </a:extLst>
          </p:cNvPr>
          <p:cNvSpPr/>
          <p:nvPr/>
        </p:nvSpPr>
        <p:spPr>
          <a:xfrm>
            <a:off x="8208095" y="2488005"/>
            <a:ext cx="1804037" cy="485257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UnanimousBased</a:t>
            </a:r>
            <a:endParaRPr lang="en-US" sz="1400" dirty="0"/>
          </a:p>
        </p:txBody>
      </p: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E4B94257-9E89-C608-6A59-D653B89E9FEF}"/>
              </a:ext>
            </a:extLst>
          </p:cNvPr>
          <p:cNvCxnSpPr>
            <a:stCxn id="9" idx="0"/>
            <a:endCxn id="6" idx="2"/>
          </p:cNvCxnSpPr>
          <p:nvPr/>
        </p:nvCxnSpPr>
        <p:spPr>
          <a:xfrm rot="16200000" flipV="1">
            <a:off x="5694511" y="2574935"/>
            <a:ext cx="437542" cy="123600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EB7998A-2542-B3BA-4036-008109CE2D35}"/>
              </a:ext>
            </a:extLst>
          </p:cNvPr>
          <p:cNvCxnSpPr>
            <a:stCxn id="9" idx="0"/>
            <a:endCxn id="7" idx="2"/>
          </p:cNvCxnSpPr>
          <p:nvPr/>
        </p:nvCxnSpPr>
        <p:spPr>
          <a:xfrm rot="5400000" flipH="1" flipV="1">
            <a:off x="6653245" y="2853272"/>
            <a:ext cx="436472" cy="68039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ABF2773E-4A05-4664-BF75-52006CE6BB48}"/>
              </a:ext>
            </a:extLst>
          </p:cNvPr>
          <p:cNvCxnSpPr>
            <a:stCxn id="9" idx="0"/>
            <a:endCxn id="11" idx="2"/>
          </p:cNvCxnSpPr>
          <p:nvPr/>
        </p:nvCxnSpPr>
        <p:spPr>
          <a:xfrm rot="5400000" flipH="1" flipV="1">
            <a:off x="7601476" y="1903069"/>
            <a:ext cx="438445" cy="257883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01527B9-9826-9818-A5EA-8A27CC287084}"/>
              </a:ext>
            </a:extLst>
          </p:cNvPr>
          <p:cNvSpPr/>
          <p:nvPr/>
        </p:nvSpPr>
        <p:spPr>
          <a:xfrm>
            <a:off x="8108449" y="4683929"/>
            <a:ext cx="1719422" cy="51089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RoleVoter</a:t>
            </a:r>
            <a:endParaRPr lang="en-US" sz="14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3FE897-3AFD-F9C7-22DB-07BE5B5DBB1B}"/>
              </a:ext>
            </a:extLst>
          </p:cNvPr>
          <p:cNvSpPr/>
          <p:nvPr/>
        </p:nvSpPr>
        <p:spPr>
          <a:xfrm>
            <a:off x="10179653" y="4668894"/>
            <a:ext cx="1719422" cy="52593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CustomVoter</a:t>
            </a:r>
            <a:endParaRPr lang="en-US" sz="1400" dirty="0"/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E8F6F79E-D7EE-7B4C-721A-C4C832EC7391}"/>
              </a:ext>
            </a:extLst>
          </p:cNvPr>
          <p:cNvCxnSpPr>
            <a:stCxn id="54" idx="2"/>
            <a:endCxn id="22" idx="0"/>
          </p:cNvCxnSpPr>
          <p:nvPr/>
        </p:nvCxnSpPr>
        <p:spPr>
          <a:xfrm rot="5400000">
            <a:off x="9133930" y="3908906"/>
            <a:ext cx="609253" cy="94079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9F6DA5B1-0D9D-2A71-D3A9-AB035A6D621A}"/>
              </a:ext>
            </a:extLst>
          </p:cNvPr>
          <p:cNvCxnSpPr>
            <a:stCxn id="54" idx="2"/>
            <a:endCxn id="23" idx="0"/>
          </p:cNvCxnSpPr>
          <p:nvPr/>
        </p:nvCxnSpPr>
        <p:spPr>
          <a:xfrm rot="16200000" flipH="1">
            <a:off x="10177049" y="3806579"/>
            <a:ext cx="594218" cy="1130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2711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6A8079-6092-A83D-74E8-4D113772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071" y="151369"/>
            <a:ext cx="10515600" cy="953035"/>
          </a:xfrm>
        </p:spPr>
        <p:txBody>
          <a:bodyPr/>
          <a:lstStyle/>
          <a:p>
            <a:r>
              <a:rPr lang="en-US" dirty="0"/>
              <a:t>Authorization Layer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7D1F7FA-AD13-D48C-5DA2-141E6A46142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728357259"/>
              </p:ext>
            </p:extLst>
          </p:nvPr>
        </p:nvGraphicFramePr>
        <p:xfrm>
          <a:off x="1" y="1690688"/>
          <a:ext cx="467887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0E8293E3-0C40-585D-E6C5-22FC3508100A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57858578"/>
              </p:ext>
            </p:extLst>
          </p:nvPr>
        </p:nvGraphicFramePr>
        <p:xfrm>
          <a:off x="5035825" y="1825625"/>
          <a:ext cx="6944140" cy="422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72070">
                  <a:extLst>
                    <a:ext uri="{9D8B030D-6E8A-4147-A177-3AD203B41FA5}">
                      <a16:colId xmlns:a16="http://schemas.microsoft.com/office/drawing/2014/main" val="3940791787"/>
                    </a:ext>
                  </a:extLst>
                </a:gridCol>
                <a:gridCol w="3472070">
                  <a:extLst>
                    <a:ext uri="{9D8B030D-6E8A-4147-A177-3AD203B41FA5}">
                      <a16:colId xmlns:a16="http://schemas.microsoft.com/office/drawing/2014/main" val="1927700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ression/Annot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060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Role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tring role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 </a:t>
                      </a:r>
                      <a:r>
                        <a:rPr lang="en-IN" sz="1400" dirty="0">
                          <a:solidFill>
                            <a:schemeClr val="bg1"/>
                          </a:solidFill>
                        </a:rPr>
                        <a:t>true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if the current principal has the specified rol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2073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AnyRole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tring…​ roles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 </a:t>
                      </a:r>
                      <a:r>
                        <a:rPr lang="en-IN" sz="1400" dirty="0">
                          <a:solidFill>
                            <a:schemeClr val="bg1"/>
                          </a:solidFill>
                        </a:rPr>
                        <a:t>true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if the current principal has any of the supplied roles 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2164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Authenticated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 </a:t>
                      </a:r>
                      <a:r>
                        <a:rPr lang="en-IN" sz="1400" dirty="0">
                          <a:solidFill>
                            <a:schemeClr val="bg1"/>
                          </a:solidFill>
                        </a:rPr>
                        <a:t>true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if the user is not anonymous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54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Anonymous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sz="14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 true if the current principal is an anonymous user</a:t>
                      </a:r>
                      <a:endParaRPr lang="en-US" sz="14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480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itAll</a:t>
                      </a:r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ways evaluates to </a:t>
                      </a:r>
                      <a:r>
                        <a:rPr lang="en-IN" sz="1400" dirty="0">
                          <a:solidFill>
                            <a:schemeClr val="bg1"/>
                          </a:solidFill>
                        </a:rPr>
                        <a:t>tru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499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bg1"/>
                          </a:solidFill>
                        </a:rPr>
                        <a:t>denyAll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()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Always evaluates to false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3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@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</a:rPr>
                        <a:t>PreAuthorize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(Expr)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 for authorization before entering into method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817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@</a:t>
                      </a:r>
                      <a:r>
                        <a:rPr lang="en-IN" sz="14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Authoriz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s for authorisation after method execution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655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454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35194EB-E9FF-EF42-A841-1184DCC6E3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81DEC10-536A-4346-88DB-A2C648D3E2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EB3CF56-E71B-8040-9FEF-172C76CAAD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EB2547F-FF5C-1F4A-B534-A524B2D0FF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23A5AD9-DC34-A246-A6D8-FFA432D6D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4805215-FB81-BB49-8478-239BAA09B3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7C8577C-2B8A-0541-B0AB-A1033B7B2E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0EE1EB-BA7B-F307-8FF6-9B7BA2192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0C9097-335D-8C22-C38E-1DCBF3CC2C6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BD05BF-416A-1E86-C5F2-4871D5D1C8D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6A4527F7-2B1E-39D2-4525-7FA2EE9F08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2650218"/>
              </p:ext>
            </p:extLst>
          </p:nvPr>
        </p:nvGraphicFramePr>
        <p:xfrm>
          <a:off x="6240463" y="1412874"/>
          <a:ext cx="5543549" cy="5040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994914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CC2557-EA3C-8E35-8D68-7332AAB2BC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88" y="1443355"/>
            <a:ext cx="5688012" cy="1418714"/>
          </a:xfrm>
        </p:spPr>
        <p:txBody>
          <a:bodyPr/>
          <a:lstStyle/>
          <a:p>
            <a:r>
              <a:rPr lang="en-US" dirty="0"/>
              <a:t>Common Exploit Protections</a:t>
            </a:r>
          </a:p>
        </p:txBody>
      </p:sp>
    </p:spTree>
    <p:extLst>
      <p:ext uri="{BB962C8B-B14F-4D97-AF65-F5344CB8AC3E}">
        <p14:creationId xmlns:p14="http://schemas.microsoft.com/office/powerpoint/2010/main" val="4248421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013546-CB6F-074C-0FD6-4056BFC4EC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HTTP/</a:t>
            </a:r>
            <a:r>
              <a:rPr lang="en-US" dirty="0" err="1"/>
              <a:t>HTTPFirewal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2A9478-1D41-1130-CEE8-D13C752810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algn="l"/>
            <a:r>
              <a:rPr lang="en-IN" b="1" i="0" dirty="0">
                <a:effectLst/>
                <a:latin typeface="-apple-system"/>
              </a:rPr>
              <a:t>HTTP Response Header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06A801-BB84-144C-C693-4FD078F883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figures CSRF Protection by defa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clusion of CSRF token for state changing operation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DF2918-87B1-EE0D-C5A8-BAA36447E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Threa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823AC8-2557-2C9D-E1E2-26A3A57BA85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es default set of Security Headers in Respon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.g.Cache</a:t>
            </a:r>
            <a:r>
              <a:rPr lang="en-US" dirty="0"/>
              <a:t> Control, X-Frame-Option, Cross origin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docs.spring.io/spring-security/reference/servlet/exploits/headers.html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Note: </a:t>
            </a:r>
            <a:r>
              <a:rPr lang="en-IN" dirty="0">
                <a:solidFill>
                  <a:srgbClr val="FF0000"/>
                </a:solidFill>
              </a:rPr>
              <a:t>Not all clients utilize the headers, so testing is encouraged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83F1F-EBDF-E8DC-055B-0AA142673F3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91E1E"/>
                </a:solidFill>
                <a:effectLst/>
              </a:rPr>
              <a:t>Auto-redirect to HTT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191E1E"/>
                </a:solidFill>
              </a:rPr>
              <a:t>Provides an allowed list of valid HTTP meth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191E1E"/>
                </a:solidFill>
              </a:rPr>
              <a:t>Controls inflow of </a:t>
            </a:r>
            <a:r>
              <a:rPr lang="en-IN" dirty="0" err="1">
                <a:solidFill>
                  <a:srgbClr val="191E1E"/>
                </a:solidFill>
              </a:rPr>
              <a:t>Heade</a:t>
            </a:r>
            <a:r>
              <a:rPr lang="en-IN" dirty="0">
                <a:solidFill>
                  <a:srgbClr val="191E1E"/>
                </a:solidFill>
              </a:rPr>
              <a:t>/</a:t>
            </a:r>
            <a:r>
              <a:rPr lang="en-IN" dirty="0" err="1">
                <a:solidFill>
                  <a:srgbClr val="191E1E"/>
                </a:solidFill>
              </a:rPr>
              <a:t>Parameterr</a:t>
            </a:r>
            <a:r>
              <a:rPr lang="en-IN" dirty="0">
                <a:solidFill>
                  <a:srgbClr val="191E1E"/>
                </a:solidFill>
              </a:rPr>
              <a:t> names/values</a:t>
            </a:r>
            <a:endParaRPr lang="en-US" dirty="0">
              <a:solidFill>
                <a:srgbClr val="191E1E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rgbClr val="191E1E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CB6EB4-F768-2148-025F-EB85E99945E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0BCBE8C-0130-7BA5-38E5-8FB01515DDA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44489B-0A7C-AE67-7308-8DF04E642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b="1" dirty="0"/>
              <a:t>CSRF Protection</a:t>
            </a:r>
          </a:p>
        </p:txBody>
      </p:sp>
    </p:spTree>
    <p:extLst>
      <p:ext uri="{BB962C8B-B14F-4D97-AF65-F5344CB8AC3E}">
        <p14:creationId xmlns:p14="http://schemas.microsoft.com/office/powerpoint/2010/main" val="4218318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6" grpId="0" build="p"/>
      <p:bldP spid="8" grpId="0" build="p"/>
      <p:bldP spid="9" grpId="0" uiExpand="1" build="p"/>
      <p:bldP spid="2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82646-6E78-904D-A301-C0D342D2B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/>
              <a:t>Agend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35EA4F6-FE82-DDA4-6314-74006C0E83BD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35436051"/>
              </p:ext>
            </p:extLst>
          </p:nvPr>
        </p:nvGraphicFramePr>
        <p:xfrm>
          <a:off x="-676894" y="1561351"/>
          <a:ext cx="6119472" cy="4252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Graphic 15" descr="Boardroom with solid fill">
            <a:extLst>
              <a:ext uri="{FF2B5EF4-FFF2-40B4-BE49-F238E27FC236}">
                <a16:creationId xmlns:a16="http://schemas.microsoft.com/office/drawing/2014/main" id="{B97F4892-2526-5C3F-74F9-C6762E75D2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18" name="Graphic 17" descr="Boardroom with solid fill">
            <a:extLst>
              <a:ext uri="{FF2B5EF4-FFF2-40B4-BE49-F238E27FC236}">
                <a16:creationId xmlns:a16="http://schemas.microsoft.com/office/drawing/2014/main" id="{33FDE2ED-F1AA-F568-8A8E-0263D93107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20" name="Graphic 19" descr="Alarm Ringing with solid fill">
            <a:extLst>
              <a:ext uri="{FF2B5EF4-FFF2-40B4-BE49-F238E27FC236}">
                <a16:creationId xmlns:a16="http://schemas.microsoft.com/office/drawing/2014/main" id="{EE08BF4D-59F9-D528-26A3-A7A3594B73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22" name="Graphic 21" descr="Browser window with solid fill">
            <a:extLst>
              <a:ext uri="{FF2B5EF4-FFF2-40B4-BE49-F238E27FC236}">
                <a16:creationId xmlns:a16="http://schemas.microsoft.com/office/drawing/2014/main" id="{717A6446-56D9-6873-A7B5-B711C403F0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24" name="Graphic 23" descr="Address Book outline">
            <a:extLst>
              <a:ext uri="{FF2B5EF4-FFF2-40B4-BE49-F238E27FC236}">
                <a16:creationId xmlns:a16="http://schemas.microsoft.com/office/drawing/2014/main" id="{2D607420-7AA6-89B0-A60A-4DE63A93241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26" name="Graphic 25" descr="Abacus outline">
            <a:extLst>
              <a:ext uri="{FF2B5EF4-FFF2-40B4-BE49-F238E27FC236}">
                <a16:creationId xmlns:a16="http://schemas.microsoft.com/office/drawing/2014/main" id="{FB44DFF5-67B8-6C13-2485-D3A406D07BA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09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870AB5-3C45-B14F-B198-A8CFAD6EAEE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6AEA70-073C-1B42-B32E-07AC06CCDDD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07DAF6-A625-C24D-961D-2ED3977FD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C9FC9D-22D0-A540-B803-B0CE244AC89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35960" y="332656"/>
            <a:ext cx="6179815" cy="5904656"/>
          </a:xfrm>
        </p:spPr>
        <p:txBody>
          <a:bodyPr>
            <a:noAutofit/>
          </a:bodyPr>
          <a:lstStyle/>
          <a:p>
            <a:pPr marL="342900" indent="-342900">
              <a:buAutoNum type="arabicPeriod"/>
            </a:pPr>
            <a:endParaRPr lang="en-US" sz="1600" b="1" dirty="0"/>
          </a:p>
          <a:p>
            <a:pPr marL="342900" indent="-342900">
              <a:buAutoNum type="arabicPeriod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Reference Doc</a:t>
            </a:r>
          </a:p>
          <a:p>
            <a:r>
              <a:rPr lang="en-US" sz="1600" dirty="0">
                <a:hlinkClick r:id="rId2"/>
              </a:rPr>
              <a:t>https://docs.spring.io/spring-security/reference/index.html</a:t>
            </a:r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Book</a:t>
            </a:r>
          </a:p>
          <a:p>
            <a:pPr fontAlgn="base"/>
            <a:r>
              <a:rPr lang="en-IN" sz="1600" dirty="0"/>
              <a:t>    Spring Security in Action - </a:t>
            </a:r>
            <a:r>
              <a:rPr lang="en-IN" sz="1600" b="0" i="0" dirty="0" err="1">
                <a:solidFill>
                  <a:srgbClr val="333333"/>
                </a:solidFill>
                <a:effectLst/>
                <a:latin typeface="Lato" panose="020F0502020204030204" pitchFamily="34" charset="0"/>
              </a:rPr>
              <a:t>Laurențiu</a:t>
            </a:r>
            <a:r>
              <a:rPr lang="en-IN" sz="1600" b="0" i="0" dirty="0">
                <a:solidFill>
                  <a:srgbClr val="333333"/>
                </a:solidFill>
                <a:effectLst/>
                <a:latin typeface="Lato" panose="020F0502020204030204" pitchFamily="34" charset="0"/>
              </a:rPr>
              <a:t> </a:t>
            </a:r>
            <a:r>
              <a:rPr lang="en-IN" sz="1600" b="0" i="0" dirty="0" err="1">
                <a:solidFill>
                  <a:srgbClr val="333333"/>
                </a:solidFill>
                <a:effectLst/>
                <a:latin typeface="Lato" panose="020F0502020204030204" pitchFamily="34" charset="0"/>
              </a:rPr>
              <a:t>Spilcă</a:t>
            </a:r>
            <a:endParaRPr lang="en-IN" sz="1600" dirty="0"/>
          </a:p>
          <a:p>
            <a:pPr fontAlgn="base"/>
            <a:endParaRPr lang="en-IN" sz="1600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600" b="1" dirty="0" err="1"/>
              <a:t>Github</a:t>
            </a:r>
            <a:r>
              <a:rPr lang="en-IN" sz="1600" b="1" dirty="0"/>
              <a:t> links</a:t>
            </a:r>
          </a:p>
          <a:p>
            <a:pPr fontAlgn="base"/>
            <a:endParaRPr lang="en-IN" sz="1600" dirty="0"/>
          </a:p>
          <a:p>
            <a:pPr fontAlgn="base"/>
            <a:endParaRPr lang="en-IN" sz="1600" dirty="0"/>
          </a:p>
          <a:p>
            <a:br>
              <a:rPr lang="en-IN" sz="1600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203204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F2FB9B-6D09-4EAB-8BC5-ADC3511427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 &amp; Feedback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8AB2D19-DCE1-42AE-99D7-8FA958146507}"/>
              </a:ext>
            </a:extLst>
          </p:cNvPr>
          <p:cNvSpPr txBox="1">
            <a:spLocks/>
          </p:cNvSpPr>
          <p:nvPr/>
        </p:nvSpPr>
        <p:spPr>
          <a:xfrm>
            <a:off x="7536160" y="1844824"/>
            <a:ext cx="4032448" cy="72072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4"/>
                </a:solidFill>
              </a:rPr>
              <a:t>mail: </a:t>
            </a:r>
            <a:r>
              <a:rPr lang="en-US" dirty="0" err="1">
                <a:solidFill>
                  <a:schemeClr val="accent4"/>
                </a:solidFill>
              </a:rPr>
              <a:t>vishal.b.shinde@sogeti.com</a:t>
            </a:r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699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DD9400-0957-D9EB-B6E9-4C0728D4D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F4F71547-24ED-B419-4B38-D2183DC7A3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3250046"/>
              </p:ext>
            </p:extLst>
          </p:nvPr>
        </p:nvGraphicFramePr>
        <p:xfrm>
          <a:off x="4572000" y="142504"/>
          <a:ext cx="7620000" cy="5915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90211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22FAC088-1754-154B-9E61-CE82340E47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43443604-5C8F-6B48-B29E-2E121DC84D0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E1512F41-4692-9F46-A305-1E15BAD14B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E60E7041-B1BB-7D4A-99A9-7F58E7C646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1A4CD6C4-09C1-4249-BAD9-BDA13013B3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52912559-19FC-8449-98D2-922832410B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554DAF9F-8686-0D4F-B0BB-9AAB4D7DD8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A7C31812-A1C1-BC4C-A0FB-E30ABB310D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B54911E9-D956-1740-8384-D6F369D1EC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9512B302-D3E6-5045-B7BC-6802F7D25C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A1D96DB0-B1E9-4E47-A529-972C003833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E6D5B776-DD11-AA41-99E0-C894031180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D7E812-CE9D-E73A-BF8D-B8C9C80168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3556821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0421B7FE-49AC-9546-B361-035625B2FD71}"/>
              </a:ext>
            </a:extLst>
          </p:cNvPr>
          <p:cNvSpPr/>
          <p:nvPr/>
        </p:nvSpPr>
        <p:spPr>
          <a:xfrm>
            <a:off x="4214814" y="1628058"/>
            <a:ext cx="6500812" cy="462915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/>
              <a:t>Web Appli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B3322A-CA8D-3E4B-82BD-4C7F78F5C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21036"/>
          </a:xfrm>
        </p:spPr>
        <p:txBody>
          <a:bodyPr>
            <a:normAutofit/>
          </a:bodyPr>
          <a:lstStyle/>
          <a:p>
            <a:r>
              <a:rPr lang="en-US" sz="3600" dirty="0"/>
              <a:t>Filter Recap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0AF26A58-846D-6748-9EB9-A95DF09C1F2F}"/>
              </a:ext>
            </a:extLst>
          </p:cNvPr>
          <p:cNvSpPr>
            <a:spLocks/>
          </p:cNvSpPr>
          <p:nvPr/>
        </p:nvSpPr>
        <p:spPr>
          <a:xfrm>
            <a:off x="1806411" y="3117035"/>
            <a:ext cx="1520041" cy="529042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equest</a:t>
            </a:r>
          </a:p>
        </p:txBody>
      </p:sp>
      <p:sp>
        <p:nvSpPr>
          <p:cNvPr id="12" name="Left Arrow 11">
            <a:extLst>
              <a:ext uri="{FF2B5EF4-FFF2-40B4-BE49-F238E27FC236}">
                <a16:creationId xmlns:a16="http://schemas.microsoft.com/office/drawing/2014/main" id="{6A6F29B0-4D85-3D46-8F39-9ED3AF5C77DC}"/>
              </a:ext>
            </a:extLst>
          </p:cNvPr>
          <p:cNvSpPr>
            <a:spLocks/>
          </p:cNvSpPr>
          <p:nvPr/>
        </p:nvSpPr>
        <p:spPr>
          <a:xfrm>
            <a:off x="1806411" y="4235750"/>
            <a:ext cx="1520040" cy="529042"/>
          </a:xfrm>
          <a:prstGeom prst="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Response</a:t>
            </a:r>
            <a:endParaRPr lang="en-US" sz="14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56D48DE-B872-2B46-BA0E-9BB9A4400069}"/>
              </a:ext>
            </a:extLst>
          </p:cNvPr>
          <p:cNvSpPr/>
          <p:nvPr/>
        </p:nvSpPr>
        <p:spPr>
          <a:xfrm>
            <a:off x="4623831" y="2717887"/>
            <a:ext cx="498764" cy="2449492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Filt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1FA9035-F135-E74A-A598-824339407C2E}"/>
              </a:ext>
            </a:extLst>
          </p:cNvPr>
          <p:cNvSpPr/>
          <p:nvPr/>
        </p:nvSpPr>
        <p:spPr>
          <a:xfrm>
            <a:off x="5440942" y="2717887"/>
            <a:ext cx="498764" cy="2449492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Filte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1B4C935-176D-6540-82E2-48C88386AF4E}"/>
              </a:ext>
            </a:extLst>
          </p:cNvPr>
          <p:cNvSpPr/>
          <p:nvPr/>
        </p:nvSpPr>
        <p:spPr>
          <a:xfrm>
            <a:off x="6696076" y="2717887"/>
            <a:ext cx="498764" cy="2449492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Filter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EB802B7-08F9-9542-9B2F-3A887B02FAEB}"/>
              </a:ext>
            </a:extLst>
          </p:cNvPr>
          <p:cNvCxnSpPr>
            <a:endCxn id="26" idx="1"/>
          </p:cNvCxnSpPr>
          <p:nvPr/>
        </p:nvCxnSpPr>
        <p:spPr>
          <a:xfrm>
            <a:off x="5939706" y="3942633"/>
            <a:ext cx="75637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ED280B4-2C74-B540-A58F-77E884EFB2A2}"/>
              </a:ext>
            </a:extLst>
          </p:cNvPr>
          <p:cNvCxnSpPr>
            <a:cxnSpLocks/>
          </p:cNvCxnSpPr>
          <p:nvPr/>
        </p:nvCxnSpPr>
        <p:spPr>
          <a:xfrm>
            <a:off x="3479535" y="3381556"/>
            <a:ext cx="4407166" cy="0"/>
          </a:xfrm>
          <a:prstGeom prst="line">
            <a:avLst/>
          </a:prstGeom>
          <a:ln w="28575"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4C05876-9044-D740-A514-913A0CBD2B4F}"/>
              </a:ext>
            </a:extLst>
          </p:cNvPr>
          <p:cNvCxnSpPr>
            <a:cxnSpLocks/>
          </p:cNvCxnSpPr>
          <p:nvPr/>
        </p:nvCxnSpPr>
        <p:spPr>
          <a:xfrm flipH="1">
            <a:off x="3479535" y="4503710"/>
            <a:ext cx="4566370" cy="0"/>
          </a:xfrm>
          <a:prstGeom prst="line">
            <a:avLst/>
          </a:prstGeom>
          <a:ln w="28575"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D78C967-5306-D949-A054-E94212E12A29}"/>
              </a:ext>
            </a:extLst>
          </p:cNvPr>
          <p:cNvGrpSpPr/>
          <p:nvPr/>
        </p:nvGrpSpPr>
        <p:grpSpPr>
          <a:xfrm>
            <a:off x="8269557" y="2311081"/>
            <a:ext cx="2088510" cy="3500425"/>
            <a:chOff x="7669481" y="1811018"/>
            <a:chExt cx="2088510" cy="3500425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42724068-3051-6E41-B63A-91E0A628F7E1}"/>
                </a:ext>
              </a:extLst>
            </p:cNvPr>
            <p:cNvSpPr/>
            <p:nvPr/>
          </p:nvSpPr>
          <p:spPr>
            <a:xfrm>
              <a:off x="7669481" y="1811018"/>
              <a:ext cx="2088510" cy="81361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ervlet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ED710CD0-9555-CD4C-8D18-8658EBCAE49C}"/>
                </a:ext>
              </a:extLst>
            </p:cNvPr>
            <p:cNvSpPr/>
            <p:nvPr/>
          </p:nvSpPr>
          <p:spPr>
            <a:xfrm>
              <a:off x="7669481" y="2881493"/>
              <a:ext cx="2088510" cy="81361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Jsp</a:t>
              </a:r>
              <a:endParaRPr lang="en-US" dirty="0"/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B5DBC7A9-5C46-3440-846A-373EDB6D65E1}"/>
                </a:ext>
              </a:extLst>
            </p:cNvPr>
            <p:cNvSpPr/>
            <p:nvPr/>
          </p:nvSpPr>
          <p:spPr>
            <a:xfrm>
              <a:off x="7669481" y="4497832"/>
              <a:ext cx="2088510" cy="81361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tatic Files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B003836-A3A1-964C-BB71-54B839620414}"/>
                </a:ext>
              </a:extLst>
            </p:cNvPr>
            <p:cNvCxnSpPr>
              <a:stCxn id="16" idx="2"/>
              <a:endCxn id="22" idx="0"/>
            </p:cNvCxnSpPr>
            <p:nvPr/>
          </p:nvCxnSpPr>
          <p:spPr>
            <a:xfrm>
              <a:off x="8713736" y="3695104"/>
              <a:ext cx="0" cy="802728"/>
            </a:xfrm>
            <a:prstGeom prst="line">
              <a:avLst/>
            </a:prstGeom>
            <a:ln w="285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Graphic 45" descr="Ui Ux with solid fill">
            <a:extLst>
              <a:ext uri="{FF2B5EF4-FFF2-40B4-BE49-F238E27FC236}">
                <a16:creationId xmlns:a16="http://schemas.microsoft.com/office/drawing/2014/main" id="{25F1214F-E244-1E46-BA93-7955453C78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2629" y="3395843"/>
            <a:ext cx="914400" cy="9144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2324B09-4D13-93A9-6593-C65BDFD57ABC}"/>
              </a:ext>
            </a:extLst>
          </p:cNvPr>
          <p:cNvSpPr/>
          <p:nvPr/>
        </p:nvSpPr>
        <p:spPr>
          <a:xfrm>
            <a:off x="4623831" y="2040835"/>
            <a:ext cx="2571009" cy="410817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FilterCha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302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24" grpId="0" animBg="1"/>
      <p:bldP spid="25" grpId="0" animBg="1"/>
      <p:bldP spid="26" grpId="0" animBg="1"/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85CA60-34E0-7828-D44B-8009FA0B4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443"/>
          </a:xfrm>
        </p:spPr>
        <p:txBody>
          <a:bodyPr/>
          <a:lstStyle/>
          <a:p>
            <a:r>
              <a:rPr lang="en-US" dirty="0"/>
              <a:t>High Level Architectur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A7A72B71-BFF5-B313-DFA6-95005EAF12E0}"/>
              </a:ext>
            </a:extLst>
          </p:cNvPr>
          <p:cNvSpPr/>
          <p:nvPr/>
        </p:nvSpPr>
        <p:spPr>
          <a:xfrm>
            <a:off x="184850" y="3524000"/>
            <a:ext cx="1043113" cy="742950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Incoming Request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8F7AEFD-D20F-0BE9-6795-13E6FFCB7DC0}"/>
              </a:ext>
            </a:extLst>
          </p:cNvPr>
          <p:cNvGrpSpPr/>
          <p:nvPr/>
        </p:nvGrpSpPr>
        <p:grpSpPr>
          <a:xfrm>
            <a:off x="8674924" y="2203244"/>
            <a:ext cx="3256808" cy="3241963"/>
            <a:chOff x="8096992" y="2185060"/>
            <a:chExt cx="3256808" cy="3241963"/>
          </a:xfrm>
          <a:solidFill>
            <a:schemeClr val="accent1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D61A243-BDAF-91E1-C5E7-D0314961A6E0}"/>
                </a:ext>
              </a:extLst>
            </p:cNvPr>
            <p:cNvSpPr/>
            <p:nvPr/>
          </p:nvSpPr>
          <p:spPr>
            <a:xfrm>
              <a:off x="8096992" y="2185060"/>
              <a:ext cx="3256808" cy="3241963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pring MVC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88DF3BF5-65A0-CB78-2A32-FEF8D570D961}"/>
                </a:ext>
              </a:extLst>
            </p:cNvPr>
            <p:cNvSpPr/>
            <p:nvPr/>
          </p:nvSpPr>
          <p:spPr>
            <a:xfrm>
              <a:off x="8130149" y="3491900"/>
              <a:ext cx="1065260" cy="742950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err="1">
                  <a:solidFill>
                    <a:schemeClr val="bg1"/>
                  </a:solidFill>
                </a:rPr>
                <a:t>DispatcherServlet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14C1BCBE-B19A-2E96-5698-7D23F33FD9D1}"/>
                </a:ext>
              </a:extLst>
            </p:cNvPr>
            <p:cNvSpPr/>
            <p:nvPr/>
          </p:nvSpPr>
          <p:spPr>
            <a:xfrm>
              <a:off x="10098232" y="2686050"/>
              <a:ext cx="1065262" cy="742950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Controller X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75586F19-6F27-1C69-EDB3-E8C87864E694}"/>
                </a:ext>
              </a:extLst>
            </p:cNvPr>
            <p:cNvSpPr/>
            <p:nvPr/>
          </p:nvSpPr>
          <p:spPr>
            <a:xfrm>
              <a:off x="10098231" y="3583008"/>
              <a:ext cx="1065261" cy="742950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Controller Y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185E454D-B5C6-AD59-8433-C7E9135E512F}"/>
                </a:ext>
              </a:extLst>
            </p:cNvPr>
            <p:cNvSpPr/>
            <p:nvPr/>
          </p:nvSpPr>
          <p:spPr>
            <a:xfrm>
              <a:off x="10098232" y="4505015"/>
              <a:ext cx="1065260" cy="742950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Controller Z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9C7A36AD-9602-5F49-5138-02977555BD58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 flipV="1">
              <a:off x="9195409" y="3057525"/>
              <a:ext cx="902823" cy="805850"/>
            </a:xfrm>
            <a:prstGeom prst="straightConnector1">
              <a:avLst/>
            </a:prstGeom>
            <a:grpFill/>
            <a:ln w="12700"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7B82F2C9-FF25-0976-98DE-007F7F4DEFDC}"/>
                </a:ext>
              </a:extLst>
            </p:cNvPr>
            <p:cNvCxnSpPr>
              <a:cxnSpLocks/>
              <a:endCxn id="11" idx="1"/>
            </p:cNvCxnSpPr>
            <p:nvPr/>
          </p:nvCxnSpPr>
          <p:spPr>
            <a:xfrm>
              <a:off x="9195409" y="3877291"/>
              <a:ext cx="902822" cy="77192"/>
            </a:xfrm>
            <a:prstGeom prst="straightConnector1">
              <a:avLst/>
            </a:prstGeom>
            <a:grpFill/>
            <a:ln w="12700"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3FB9B9EE-2E7D-57BF-30D5-83EE135F9C81}"/>
                </a:ext>
              </a:extLst>
            </p:cNvPr>
            <p:cNvCxnSpPr>
              <a:cxnSpLocks/>
              <a:stCxn id="9" idx="3"/>
              <a:endCxn id="12" idx="1"/>
            </p:cNvCxnSpPr>
            <p:nvPr/>
          </p:nvCxnSpPr>
          <p:spPr>
            <a:xfrm>
              <a:off x="9195409" y="3863375"/>
              <a:ext cx="902823" cy="1013115"/>
            </a:xfrm>
            <a:prstGeom prst="straightConnector1">
              <a:avLst/>
            </a:prstGeom>
            <a:grpFill/>
            <a:ln w="12700"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9970E52-D9F2-46D4-0DFE-442FC0BAF27E}"/>
              </a:ext>
            </a:extLst>
          </p:cNvPr>
          <p:cNvGrpSpPr/>
          <p:nvPr/>
        </p:nvGrpSpPr>
        <p:grpSpPr>
          <a:xfrm>
            <a:off x="1824836" y="1872868"/>
            <a:ext cx="2881993" cy="3643903"/>
            <a:chOff x="2093767" y="1783120"/>
            <a:chExt cx="2881993" cy="3643903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813A0CE-43B8-586A-213D-AA2DE224E050}"/>
                </a:ext>
              </a:extLst>
            </p:cNvPr>
            <p:cNvGrpSpPr/>
            <p:nvPr/>
          </p:nvGrpSpPr>
          <p:grpSpPr>
            <a:xfrm>
              <a:off x="2093767" y="2185060"/>
              <a:ext cx="2881993" cy="3241963"/>
              <a:chOff x="2093767" y="2185060"/>
              <a:chExt cx="2881993" cy="3241963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FAB8FB9-F73C-1117-7D2B-507D5408C663}"/>
                  </a:ext>
                </a:extLst>
              </p:cNvPr>
              <p:cNvSpPr/>
              <p:nvPr/>
            </p:nvSpPr>
            <p:spPr>
              <a:xfrm>
                <a:off x="2093767" y="2185060"/>
                <a:ext cx="2881993" cy="3241963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EC8EDCB-3ADB-53FE-ADD1-6C46FB53E027}"/>
                  </a:ext>
                </a:extLst>
              </p:cNvPr>
              <p:cNvSpPr/>
              <p:nvPr/>
            </p:nvSpPr>
            <p:spPr>
              <a:xfrm>
                <a:off x="2355760" y="2566926"/>
                <a:ext cx="2280937" cy="3714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Filter </a:t>
                </a:r>
                <a:r>
                  <a:rPr lang="en-US" baseline="-25000" dirty="0"/>
                  <a:t>0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EC1CE9B3-B83B-AB9A-270A-151B10924732}"/>
                  </a:ext>
                </a:extLst>
              </p:cNvPr>
              <p:cNvSpPr/>
              <p:nvPr/>
            </p:nvSpPr>
            <p:spPr>
              <a:xfrm>
                <a:off x="2355760" y="3251427"/>
                <a:ext cx="2280937" cy="634217"/>
              </a:xfrm>
              <a:prstGeom prst="rect">
                <a:avLst/>
              </a:prstGeom>
              <a:solidFill>
                <a:schemeClr val="accent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DelegatingFilterProxy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34F9447-81DD-C488-FB6D-0692EE44B9E1}"/>
                  </a:ext>
                </a:extLst>
              </p:cNvPr>
              <p:cNvSpPr/>
              <p:nvPr/>
            </p:nvSpPr>
            <p:spPr>
              <a:xfrm>
                <a:off x="2355760" y="4198670"/>
                <a:ext cx="2280937" cy="3714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Filter </a:t>
                </a:r>
                <a:r>
                  <a:rPr lang="en-US" baseline="-25000" dirty="0"/>
                  <a:t>1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BE2D2B-51AC-F3A2-ABCE-B7385BDF9B65}"/>
                  </a:ext>
                </a:extLst>
              </p:cNvPr>
              <p:cNvSpPr/>
              <p:nvPr/>
            </p:nvSpPr>
            <p:spPr>
              <a:xfrm>
                <a:off x="2355762" y="4883171"/>
                <a:ext cx="2280937" cy="3714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Filter </a:t>
                </a:r>
                <a:r>
                  <a:rPr lang="en-US" baseline="-25000" dirty="0"/>
                  <a:t>n</a:t>
                </a:r>
              </a:p>
            </p:txBody>
          </p: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3A518A00-2437-556A-562A-17A12C6434F7}"/>
                  </a:ext>
                </a:extLst>
              </p:cNvPr>
              <p:cNvCxnSpPr>
                <a:stCxn id="22" idx="2"/>
                <a:endCxn id="23" idx="0"/>
              </p:cNvCxnSpPr>
              <p:nvPr/>
            </p:nvCxnSpPr>
            <p:spPr>
              <a:xfrm>
                <a:off x="3496229" y="2938401"/>
                <a:ext cx="0" cy="313026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FE354CAF-59E0-5C07-6A4E-F9FA7906EC3C}"/>
                  </a:ext>
                </a:extLst>
              </p:cNvPr>
              <p:cNvCxnSpPr>
                <a:stCxn id="23" idx="2"/>
                <a:endCxn id="24" idx="0"/>
              </p:cNvCxnSpPr>
              <p:nvPr/>
            </p:nvCxnSpPr>
            <p:spPr>
              <a:xfrm>
                <a:off x="3496229" y="3885644"/>
                <a:ext cx="0" cy="313026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>
                <a:extLst>
                  <a:ext uri="{FF2B5EF4-FFF2-40B4-BE49-F238E27FC236}">
                    <a16:creationId xmlns:a16="http://schemas.microsoft.com/office/drawing/2014/main" id="{2343189F-8EA8-DD08-DB03-837BF33BE35E}"/>
                  </a:ext>
                </a:extLst>
              </p:cNvPr>
              <p:cNvCxnSpPr>
                <a:stCxn id="24" idx="2"/>
                <a:endCxn id="25" idx="0"/>
              </p:cNvCxnSpPr>
              <p:nvPr/>
            </p:nvCxnSpPr>
            <p:spPr>
              <a:xfrm>
                <a:off x="3496229" y="4570145"/>
                <a:ext cx="1" cy="313026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BE64A98-83A5-7257-E7C5-D70BD2DE17C8}"/>
                  </a:ext>
                </a:extLst>
              </p:cNvPr>
              <p:cNvSpPr/>
              <p:nvPr/>
            </p:nvSpPr>
            <p:spPr>
              <a:xfrm>
                <a:off x="2542616" y="3588203"/>
                <a:ext cx="1888176" cy="297441"/>
              </a:xfrm>
              <a:prstGeom prst="rect">
                <a:avLst/>
              </a:prstGeom>
              <a:solidFill>
                <a:schemeClr val="bg2">
                  <a:lumMod val="2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err="1">
                    <a:solidFill>
                      <a:schemeClr val="bg1"/>
                    </a:solidFill>
                  </a:rPr>
                  <a:t>FilterChainProxy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C16F393-A432-7DAC-E6DF-185060C26116}"/>
                </a:ext>
              </a:extLst>
            </p:cNvPr>
            <p:cNvSpPr txBox="1"/>
            <p:nvPr/>
          </p:nvSpPr>
          <p:spPr>
            <a:xfrm>
              <a:off x="2582687" y="1783120"/>
              <a:ext cx="1848105" cy="335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Filter Chain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7F3E9F-9C74-51C0-44C9-CDB17500BFE9}"/>
              </a:ext>
            </a:extLst>
          </p:cNvPr>
          <p:cNvGrpSpPr/>
          <p:nvPr/>
        </p:nvGrpSpPr>
        <p:grpSpPr>
          <a:xfrm>
            <a:off x="5367130" y="1410956"/>
            <a:ext cx="2637183" cy="2418743"/>
            <a:chOff x="5200877" y="1753207"/>
            <a:chExt cx="2637183" cy="2418743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5CEC75CD-2315-8A0F-3108-3ABD47373F62}"/>
                </a:ext>
              </a:extLst>
            </p:cNvPr>
            <p:cNvGrpSpPr/>
            <p:nvPr/>
          </p:nvGrpSpPr>
          <p:grpSpPr>
            <a:xfrm>
              <a:off x="5426033" y="2185059"/>
              <a:ext cx="2079912" cy="1986891"/>
              <a:chOff x="5426033" y="2185059"/>
              <a:chExt cx="2079912" cy="1986891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B43CABE-1F03-08E4-2EDA-9F0CECF0B4F1}"/>
                  </a:ext>
                </a:extLst>
              </p:cNvPr>
              <p:cNvSpPr/>
              <p:nvPr/>
            </p:nvSpPr>
            <p:spPr>
              <a:xfrm>
                <a:off x="5426033" y="2185059"/>
                <a:ext cx="2079912" cy="1986891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/public/**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0E39895-E6C1-D8DF-23F2-9755CBA8026C}"/>
                  </a:ext>
                </a:extLst>
              </p:cNvPr>
              <p:cNvSpPr/>
              <p:nvPr/>
            </p:nvSpPr>
            <p:spPr>
              <a:xfrm>
                <a:off x="5539840" y="2472152"/>
                <a:ext cx="1852551" cy="33988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Security Filter </a:t>
                </a:r>
                <a:r>
                  <a:rPr lang="en-US" sz="1600" baseline="-25000" dirty="0"/>
                  <a:t>0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A1B6017-0744-8507-A872-BC8FED152A37}"/>
                  </a:ext>
                </a:extLst>
              </p:cNvPr>
              <p:cNvSpPr/>
              <p:nvPr/>
            </p:nvSpPr>
            <p:spPr>
              <a:xfrm>
                <a:off x="5539841" y="3741529"/>
                <a:ext cx="1852551" cy="33988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Security Filter </a:t>
                </a:r>
                <a:r>
                  <a:rPr lang="en-US" sz="1600" baseline="-25000" dirty="0"/>
                  <a:t>n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A8077CF-2618-2CF2-752D-74F1D7AA2C6E}"/>
                  </a:ext>
                </a:extLst>
              </p:cNvPr>
              <p:cNvSpPr/>
              <p:nvPr/>
            </p:nvSpPr>
            <p:spPr>
              <a:xfrm>
                <a:off x="6034643" y="3076512"/>
                <a:ext cx="839190" cy="17064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5575AFD-9F10-C016-064C-6AAF95ED829B}"/>
                  </a:ext>
                </a:extLst>
              </p:cNvPr>
              <p:cNvSpPr/>
              <p:nvPr/>
            </p:nvSpPr>
            <p:spPr>
              <a:xfrm>
                <a:off x="6034646" y="3290035"/>
                <a:ext cx="839190" cy="17064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aseline="-25000" dirty="0"/>
              </a:p>
            </p:txBody>
          </p: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DC3CB4BD-CC9D-F8C5-96A4-084E6F1E7AF6}"/>
                  </a:ext>
                </a:extLst>
              </p:cNvPr>
              <p:cNvCxnSpPr>
                <a:cxnSpLocks/>
                <a:stCxn id="36" idx="2"/>
                <a:endCxn id="38" idx="0"/>
              </p:cNvCxnSpPr>
              <p:nvPr/>
            </p:nvCxnSpPr>
            <p:spPr>
              <a:xfrm flipH="1">
                <a:off x="6454238" y="2812038"/>
                <a:ext cx="11878" cy="264474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EE62A6DD-760C-B19E-5026-9B66D83A7DE8}"/>
                  </a:ext>
                </a:extLst>
              </p:cNvPr>
              <p:cNvCxnSpPr>
                <a:cxnSpLocks/>
                <a:stCxn id="39" idx="2"/>
                <a:endCxn id="37" idx="0"/>
              </p:cNvCxnSpPr>
              <p:nvPr/>
            </p:nvCxnSpPr>
            <p:spPr>
              <a:xfrm>
                <a:off x="6454241" y="3460681"/>
                <a:ext cx="11876" cy="280848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A01E4EF-DAAE-D5E6-21E4-76AEDF1FF123}"/>
                </a:ext>
              </a:extLst>
            </p:cNvPr>
            <p:cNvSpPr txBox="1"/>
            <p:nvPr/>
          </p:nvSpPr>
          <p:spPr>
            <a:xfrm>
              <a:off x="5200877" y="1753207"/>
              <a:ext cx="263718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</a:rPr>
                <a:t>Spring Security Filter Chain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3BBF94C-C908-A435-B86F-B10AF303DAA3}"/>
              </a:ext>
            </a:extLst>
          </p:cNvPr>
          <p:cNvGrpSpPr/>
          <p:nvPr/>
        </p:nvGrpSpPr>
        <p:grpSpPr>
          <a:xfrm>
            <a:off x="5590305" y="4169585"/>
            <a:ext cx="2079912" cy="1986891"/>
            <a:chOff x="5426033" y="2185059"/>
            <a:chExt cx="2079912" cy="1986891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525E3BF-149C-8C70-9940-7A4C9F0EAC4D}"/>
                </a:ext>
              </a:extLst>
            </p:cNvPr>
            <p:cNvSpPr/>
            <p:nvPr/>
          </p:nvSpPr>
          <p:spPr>
            <a:xfrm>
              <a:off x="5426033" y="2185059"/>
              <a:ext cx="2079912" cy="198689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/admin/**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E48AEE3-951B-B306-F4D7-D0A8A1B8C6A4}"/>
                </a:ext>
              </a:extLst>
            </p:cNvPr>
            <p:cNvSpPr/>
            <p:nvPr/>
          </p:nvSpPr>
          <p:spPr>
            <a:xfrm>
              <a:off x="5539840" y="2472152"/>
              <a:ext cx="1852551" cy="33988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curity Filter </a:t>
              </a:r>
              <a:r>
                <a:rPr lang="en-US" sz="1600" baseline="-25000" dirty="0"/>
                <a:t>0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717C1FF-91B0-6600-7C57-6D2F53C8321C}"/>
                </a:ext>
              </a:extLst>
            </p:cNvPr>
            <p:cNvSpPr/>
            <p:nvPr/>
          </p:nvSpPr>
          <p:spPr>
            <a:xfrm>
              <a:off x="5539841" y="3741529"/>
              <a:ext cx="1852551" cy="33988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curity Filter </a:t>
              </a:r>
              <a:r>
                <a:rPr lang="en-US" sz="1600" baseline="-25000" dirty="0"/>
                <a:t>n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0DC1215-5627-7D0D-313C-989B53B48D44}"/>
                </a:ext>
              </a:extLst>
            </p:cNvPr>
            <p:cNvSpPr/>
            <p:nvPr/>
          </p:nvSpPr>
          <p:spPr>
            <a:xfrm>
              <a:off x="6034643" y="3076512"/>
              <a:ext cx="839190" cy="17064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F1939D-221B-D835-B363-AF13E3146CE5}"/>
                </a:ext>
              </a:extLst>
            </p:cNvPr>
            <p:cNvSpPr/>
            <p:nvPr/>
          </p:nvSpPr>
          <p:spPr>
            <a:xfrm>
              <a:off x="6034646" y="3290035"/>
              <a:ext cx="839190" cy="17064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/>
            </a:p>
          </p:txBody>
        </p: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98C9827A-7243-1262-56E9-B3C43F942C5D}"/>
                </a:ext>
              </a:extLst>
            </p:cNvPr>
            <p:cNvCxnSpPr>
              <a:cxnSpLocks/>
              <a:stCxn id="58" idx="2"/>
              <a:endCxn id="60" idx="0"/>
            </p:cNvCxnSpPr>
            <p:nvPr/>
          </p:nvCxnSpPr>
          <p:spPr>
            <a:xfrm flipH="1">
              <a:off x="6454238" y="2812038"/>
              <a:ext cx="11878" cy="26447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A4B75E66-5C14-1A2D-D5C4-39071AF3F137}"/>
                </a:ext>
              </a:extLst>
            </p:cNvPr>
            <p:cNvCxnSpPr>
              <a:cxnSpLocks/>
              <a:stCxn id="61" idx="2"/>
              <a:endCxn id="59" idx="0"/>
            </p:cNvCxnSpPr>
            <p:nvPr/>
          </p:nvCxnSpPr>
          <p:spPr>
            <a:xfrm>
              <a:off x="6454241" y="3460681"/>
              <a:ext cx="11876" cy="28084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B787489F-3C11-2507-DD4D-6406163D7366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1227963" y="3895475"/>
            <a:ext cx="596873" cy="31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CFEA790-8EE9-5F10-59E0-2D53315C0BEB}"/>
              </a:ext>
            </a:extLst>
          </p:cNvPr>
          <p:cNvCxnSpPr>
            <a:cxnSpLocks/>
            <a:stCxn id="23" idx="3"/>
            <a:endCxn id="35" idx="1"/>
          </p:cNvCxnSpPr>
          <p:nvPr/>
        </p:nvCxnSpPr>
        <p:spPr>
          <a:xfrm flipV="1">
            <a:off x="4367766" y="2836254"/>
            <a:ext cx="1224520" cy="822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E8853F3-1268-2B10-6AA1-9EC059AF2785}"/>
              </a:ext>
            </a:extLst>
          </p:cNvPr>
          <p:cNvCxnSpPr>
            <a:cxnSpLocks/>
            <a:stCxn id="23" idx="3"/>
            <a:endCxn id="57" idx="1"/>
          </p:cNvCxnSpPr>
          <p:nvPr/>
        </p:nvCxnSpPr>
        <p:spPr>
          <a:xfrm>
            <a:off x="4367766" y="3658284"/>
            <a:ext cx="1222539" cy="15047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631E8C64-7017-7CAF-419C-82E82284F176}"/>
              </a:ext>
            </a:extLst>
          </p:cNvPr>
          <p:cNvCxnSpPr>
            <a:cxnSpLocks/>
            <a:stCxn id="35" idx="3"/>
            <a:endCxn id="8" idx="1"/>
          </p:cNvCxnSpPr>
          <p:nvPr/>
        </p:nvCxnSpPr>
        <p:spPr>
          <a:xfrm>
            <a:off x="7672198" y="2836254"/>
            <a:ext cx="1002726" cy="9879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819C020E-42C4-1F95-8967-6A3711C65AA3}"/>
              </a:ext>
            </a:extLst>
          </p:cNvPr>
          <p:cNvCxnSpPr>
            <a:cxnSpLocks/>
            <a:stCxn id="57" idx="3"/>
            <a:endCxn id="8" idx="1"/>
          </p:cNvCxnSpPr>
          <p:nvPr/>
        </p:nvCxnSpPr>
        <p:spPr>
          <a:xfrm flipV="1">
            <a:off x="7670217" y="3824226"/>
            <a:ext cx="1004707" cy="13388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5407E5E-2CED-AF02-8EA2-1DBA5BAD8541}"/>
              </a:ext>
            </a:extLst>
          </p:cNvPr>
          <p:cNvCxnSpPr>
            <a:cxnSpLocks/>
            <a:stCxn id="35" idx="2"/>
            <a:endCxn id="57" idx="0"/>
          </p:cNvCxnSpPr>
          <p:nvPr/>
        </p:nvCxnSpPr>
        <p:spPr>
          <a:xfrm flipH="1">
            <a:off x="6630261" y="3829699"/>
            <a:ext cx="1981" cy="339886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8742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18E19-634F-653E-7DBD-41DA4DC46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1EB02823-0D3E-FFDD-4A56-8A74D151ED64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85932822"/>
              </p:ext>
            </p:extLst>
          </p:nvPr>
        </p:nvGraphicFramePr>
        <p:xfrm>
          <a:off x="838200" y="1825625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73BB3430-7B60-517D-33E3-92DA357B255D}"/>
              </a:ext>
            </a:extLst>
          </p:cNvPr>
          <p:cNvGrpSpPr/>
          <p:nvPr/>
        </p:nvGrpSpPr>
        <p:grpSpPr>
          <a:xfrm>
            <a:off x="7374577" y="1825625"/>
            <a:ext cx="3491345" cy="2081357"/>
            <a:chOff x="8288977" y="1825625"/>
            <a:chExt cx="3491345" cy="208135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4965780-A7D9-5862-01EE-F2820D94BDEA}"/>
                </a:ext>
              </a:extLst>
            </p:cNvPr>
            <p:cNvSpPr/>
            <p:nvPr/>
          </p:nvSpPr>
          <p:spPr>
            <a:xfrm>
              <a:off x="8288977" y="1825625"/>
              <a:ext cx="3491345" cy="2081357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 err="1">
                  <a:solidFill>
                    <a:schemeClr val="tx1"/>
                  </a:solidFill>
                </a:rPr>
                <a:t>SecurityContextHolder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9C74B12F-3EAC-BC95-2A21-0BF02869A4C5}"/>
                </a:ext>
              </a:extLst>
            </p:cNvPr>
            <p:cNvSpPr/>
            <p:nvPr/>
          </p:nvSpPr>
          <p:spPr>
            <a:xfrm>
              <a:off x="8478982" y="2327564"/>
              <a:ext cx="3099460" cy="1436914"/>
            </a:xfrm>
            <a:prstGeom prst="round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ecurity Context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2B22FAF-12D5-554A-2133-0238B07F5655}"/>
                </a:ext>
              </a:extLst>
            </p:cNvPr>
            <p:cNvGrpSpPr/>
            <p:nvPr/>
          </p:nvGrpSpPr>
          <p:grpSpPr>
            <a:xfrm>
              <a:off x="8645236" y="2790701"/>
              <a:ext cx="2708564" cy="878774"/>
              <a:chOff x="8645236" y="2790701"/>
              <a:chExt cx="2708564" cy="878774"/>
            </a:xfrm>
          </p:grpSpPr>
          <p:sp>
            <p:nvSpPr>
              <p:cNvPr id="14" name="Rounded Rectangle 13">
                <a:extLst>
                  <a:ext uri="{FF2B5EF4-FFF2-40B4-BE49-F238E27FC236}">
                    <a16:creationId xmlns:a16="http://schemas.microsoft.com/office/drawing/2014/main" id="{83A417D0-9B24-64E7-29C4-2821216C8626}"/>
                  </a:ext>
                </a:extLst>
              </p:cNvPr>
              <p:cNvSpPr/>
              <p:nvPr/>
            </p:nvSpPr>
            <p:spPr>
              <a:xfrm>
                <a:off x="8645236" y="2790701"/>
                <a:ext cx="2708564" cy="878774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>
                    <a:solidFill>
                      <a:sysClr val="windowText" lastClr="000000"/>
                    </a:solidFill>
                  </a:rPr>
                  <a:t>Authentication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FF6FD4E6-CB5C-6F41-8FEE-ABAB4A1E06AB}"/>
                  </a:ext>
                </a:extLst>
              </p:cNvPr>
              <p:cNvSpPr/>
              <p:nvPr/>
            </p:nvSpPr>
            <p:spPr>
              <a:xfrm>
                <a:off x="8752115" y="3301340"/>
                <a:ext cx="724394" cy="26125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/>
                  <a:t>Principal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5D8663B-71D6-10A0-5312-FEC4BAEE0C7C}"/>
                  </a:ext>
                </a:extLst>
              </p:cNvPr>
              <p:cNvSpPr/>
              <p:nvPr/>
            </p:nvSpPr>
            <p:spPr>
              <a:xfrm>
                <a:off x="9529948" y="3298372"/>
                <a:ext cx="831273" cy="25680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/>
                  <a:t>Credentials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1BD27C9-6DE5-02A8-4E69-7BAC519DD7B7}"/>
                  </a:ext>
                </a:extLst>
              </p:cNvPr>
              <p:cNvSpPr/>
              <p:nvPr/>
            </p:nvSpPr>
            <p:spPr>
              <a:xfrm>
                <a:off x="10414660" y="3293918"/>
                <a:ext cx="831273" cy="26867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/>
                  <a:t>Authorities</a:t>
                </a:r>
              </a:p>
            </p:txBody>
          </p:sp>
        </p:grpSp>
      </p:grpSp>
      <p:sp>
        <p:nvSpPr>
          <p:cNvPr id="20" name="Double Brace 19">
            <a:extLst>
              <a:ext uri="{FF2B5EF4-FFF2-40B4-BE49-F238E27FC236}">
                <a16:creationId xmlns:a16="http://schemas.microsoft.com/office/drawing/2014/main" id="{4D56F89D-8068-0891-0B03-D0DD6EAC9238}"/>
              </a:ext>
            </a:extLst>
          </p:cNvPr>
          <p:cNvSpPr/>
          <p:nvPr/>
        </p:nvSpPr>
        <p:spPr>
          <a:xfrm>
            <a:off x="7368637" y="5849494"/>
            <a:ext cx="3396343" cy="654937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rgbClr val="FF0000"/>
                </a:solidFill>
              </a:rPr>
              <a:t>AuthenticationException</a:t>
            </a:r>
            <a:endParaRPr lang="en-US" sz="1600" dirty="0">
              <a:solidFill>
                <a:srgbClr val="FF0000"/>
              </a:solidFill>
            </a:endParaRP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Or</a:t>
            </a:r>
          </a:p>
          <a:p>
            <a:pPr algn="ctr"/>
            <a:r>
              <a:rPr lang="en-US" sz="1600" dirty="0" err="1">
                <a:solidFill>
                  <a:srgbClr val="FF0000"/>
                </a:solidFill>
              </a:rPr>
              <a:t>AccessDeniedException</a:t>
            </a:r>
            <a:endParaRPr lang="en-US" sz="1600" dirty="0">
              <a:solidFill>
                <a:srgbClr val="FF0000"/>
              </a:solidFill>
            </a:endParaRP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Or 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Success</a:t>
            </a:r>
          </a:p>
        </p:txBody>
      </p:sp>
      <p:sp>
        <p:nvSpPr>
          <p:cNvPr id="21" name="Double Brace 20">
            <a:extLst>
              <a:ext uri="{FF2B5EF4-FFF2-40B4-BE49-F238E27FC236}">
                <a16:creationId xmlns:a16="http://schemas.microsoft.com/office/drawing/2014/main" id="{161D3FF4-65FC-707D-FEAB-E6273AE59C1D}"/>
              </a:ext>
            </a:extLst>
          </p:cNvPr>
          <p:cNvSpPr/>
          <p:nvPr/>
        </p:nvSpPr>
        <p:spPr>
          <a:xfrm>
            <a:off x="7368637" y="4629582"/>
            <a:ext cx="3396343" cy="654937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FF0000"/>
                </a:solidFill>
              </a:rPr>
              <a:t>Error Response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Or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Login </a:t>
            </a:r>
            <a:r>
              <a:rPr lang="en-US" sz="1600" dirty="0" err="1">
                <a:solidFill>
                  <a:srgbClr val="FF0000"/>
                </a:solidFill>
              </a:rPr>
              <a:t>EntryPoint</a:t>
            </a:r>
            <a:endParaRPr lang="en-US" sz="1600" dirty="0">
              <a:solidFill>
                <a:srgbClr val="FF0000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244FE4D-DF27-FDC8-A599-A8980CFECE4E}"/>
              </a:ext>
            </a:extLst>
          </p:cNvPr>
          <p:cNvCxnSpPr/>
          <p:nvPr/>
        </p:nvCxnSpPr>
        <p:spPr>
          <a:xfrm>
            <a:off x="6096000" y="2124222"/>
            <a:ext cx="1272637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2EBD930-ADD1-459D-DBE7-61244AC753AF}"/>
              </a:ext>
            </a:extLst>
          </p:cNvPr>
          <p:cNvCxnSpPr>
            <a:cxnSpLocks/>
          </p:cNvCxnSpPr>
          <p:nvPr/>
        </p:nvCxnSpPr>
        <p:spPr>
          <a:xfrm>
            <a:off x="6019800" y="4957050"/>
            <a:ext cx="1348837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725BEA1-6641-2D3C-E2E9-9C1C23DF7447}"/>
              </a:ext>
            </a:extLst>
          </p:cNvPr>
          <p:cNvCxnSpPr>
            <a:cxnSpLocks/>
          </p:cNvCxnSpPr>
          <p:nvPr/>
        </p:nvCxnSpPr>
        <p:spPr>
          <a:xfrm>
            <a:off x="6019799" y="5852372"/>
            <a:ext cx="1348837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0D98B86-4A2F-993F-7D63-29490C086680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721036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3600" dirty="0"/>
              <a:t>Security </a:t>
            </a:r>
            <a:r>
              <a:rPr lang="en-US" sz="3600" dirty="0" err="1"/>
              <a:t>FilterChain</a:t>
            </a:r>
            <a:r>
              <a:rPr lang="en-US" sz="3600" dirty="0"/>
              <a:t>: Important Parts</a:t>
            </a:r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52997105-61DD-0631-5F80-EEC57ECA7B14}"/>
              </a:ext>
            </a:extLst>
          </p:cNvPr>
          <p:cNvCxnSpPr>
            <a:endCxn id="14" idx="1"/>
          </p:cNvCxnSpPr>
          <p:nvPr/>
        </p:nvCxnSpPr>
        <p:spPr>
          <a:xfrm>
            <a:off x="6019799" y="3040083"/>
            <a:ext cx="1711037" cy="190005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94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358C4510-826A-DE43-B60F-B81FA47381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EF291D84-C98C-524C-A97E-9DB91C7077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A520648E-B82F-754A-BB8F-EC0009C988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A6D3B5F4-5728-A646-B391-71321DF70F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EB55B406-E2A1-EE4C-83E9-30DC686A49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Dgm bld="one"/>
        </p:bldSub>
      </p:bldGraphic>
      <p:bldP spid="20" grpId="0" animBg="1"/>
      <p:bldP spid="2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6A8079-6092-A83D-74E8-4D113772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071" y="151369"/>
            <a:ext cx="10515600" cy="953035"/>
          </a:xfrm>
        </p:spPr>
        <p:txBody>
          <a:bodyPr/>
          <a:lstStyle/>
          <a:p>
            <a:r>
              <a:rPr lang="en-US" dirty="0" err="1"/>
              <a:t>SecurityFilterChain</a:t>
            </a:r>
            <a:r>
              <a:rPr lang="en-US" dirty="0"/>
              <a:t>: Configuration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7D1F7FA-AD13-D48C-5DA2-141E6A46142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09233963"/>
              </p:ext>
            </p:extLst>
          </p:nvPr>
        </p:nvGraphicFramePr>
        <p:xfrm>
          <a:off x="1" y="1690688"/>
          <a:ext cx="467887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5B9029-DB26-657F-20C2-4AE85143E8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78878" y="502187"/>
            <a:ext cx="7625604" cy="553983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IN" sz="1200" b="1" dirty="0"/>
              <a:t>http</a:t>
            </a:r>
            <a:br>
              <a:rPr lang="en-IN" sz="1200" b="1" dirty="0"/>
            </a:br>
            <a:r>
              <a:rPr lang="en-IN" sz="1200" b="1" dirty="0"/>
              <a:t>        </a:t>
            </a:r>
            <a:r>
              <a:rPr lang="en-IN" sz="1200" b="1" dirty="0">
                <a:solidFill>
                  <a:schemeClr val="accent2"/>
                </a:solidFill>
              </a:rPr>
              <a:t>.</a:t>
            </a:r>
            <a:r>
              <a:rPr lang="en-IN" sz="1200" b="1" dirty="0" err="1">
                <a:solidFill>
                  <a:schemeClr val="accent2"/>
                </a:solidFill>
              </a:rPr>
              <a:t>addFilterAfter</a:t>
            </a:r>
            <a:r>
              <a:rPr lang="en-IN" sz="1200" b="1" dirty="0">
                <a:solidFill>
                  <a:schemeClr val="accent2"/>
                </a:solidFill>
              </a:rPr>
              <a:t>(</a:t>
            </a:r>
            <a:r>
              <a:rPr lang="en-IN" sz="1200" b="1" dirty="0">
                <a:solidFill>
                  <a:schemeClr val="accent2"/>
                </a:solidFill>
                <a:effectLst/>
              </a:rPr>
              <a:t>new </a:t>
            </a:r>
            <a:r>
              <a:rPr lang="en-IN" sz="1200" b="1" dirty="0" err="1">
                <a:solidFill>
                  <a:schemeClr val="accent2"/>
                </a:solidFill>
              </a:rPr>
              <a:t>LogFilter</a:t>
            </a:r>
            <a:r>
              <a:rPr lang="en-IN" sz="1200" b="1" dirty="0">
                <a:solidFill>
                  <a:schemeClr val="accent2"/>
                </a:solidFill>
              </a:rPr>
              <a:t>()</a:t>
            </a:r>
            <a:r>
              <a:rPr lang="en-IN" sz="1200" b="1" dirty="0">
                <a:solidFill>
                  <a:schemeClr val="accent2"/>
                </a:solidFill>
                <a:effectLst/>
              </a:rPr>
              <a:t>, </a:t>
            </a:r>
            <a:r>
              <a:rPr lang="en-IN" sz="1200" b="1" dirty="0" err="1">
                <a:solidFill>
                  <a:schemeClr val="accent2"/>
                </a:solidFill>
              </a:rPr>
              <a:t>UsernamePasswordAuthenticationFilter.</a:t>
            </a:r>
            <a:r>
              <a:rPr lang="en-IN" sz="1200" b="1" dirty="0" err="1">
                <a:solidFill>
                  <a:schemeClr val="accent2"/>
                </a:solidFill>
                <a:effectLst/>
              </a:rPr>
              <a:t>class</a:t>
            </a:r>
            <a:r>
              <a:rPr lang="en-IN" sz="1200" b="1" dirty="0">
                <a:solidFill>
                  <a:schemeClr val="accent2"/>
                </a:solidFill>
              </a:rPr>
              <a:t>)</a:t>
            </a:r>
            <a:br>
              <a:rPr lang="en-IN" sz="1200" b="1" dirty="0">
                <a:solidFill>
                  <a:schemeClr val="accent2"/>
                </a:solidFill>
              </a:rPr>
            </a:br>
            <a:r>
              <a:rPr lang="en-IN" sz="1200" b="1" dirty="0">
                <a:solidFill>
                  <a:schemeClr val="accent6"/>
                </a:solidFill>
              </a:rPr>
              <a:t>        .</a:t>
            </a:r>
            <a:r>
              <a:rPr lang="en-IN" sz="1200" b="1" dirty="0" err="1">
                <a:solidFill>
                  <a:schemeClr val="accent6"/>
                </a:solidFill>
              </a:rPr>
              <a:t>formLogin</a:t>
            </a:r>
            <a:r>
              <a:rPr lang="en-IN" sz="1200" b="1" dirty="0">
                <a:solidFill>
                  <a:schemeClr val="accent6"/>
                </a:solidFill>
              </a:rPr>
              <a:t>()</a:t>
            </a:r>
            <a:br>
              <a:rPr lang="en-IN" sz="1200" b="1" dirty="0"/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loginPage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>
                <a:solidFill>
                  <a:schemeClr val="accent1"/>
                </a:solidFill>
                <a:effectLst/>
              </a:rPr>
              <a:t>"/</a:t>
            </a:r>
            <a:r>
              <a:rPr lang="en-IN" sz="1200" b="1" dirty="0" err="1">
                <a:solidFill>
                  <a:schemeClr val="accent1"/>
                </a:solidFill>
                <a:effectLst/>
              </a:rPr>
              <a:t>login.html</a:t>
            </a:r>
            <a:r>
              <a:rPr lang="en-IN" sz="1200" b="1" dirty="0">
                <a:solidFill>
                  <a:schemeClr val="accent1"/>
                </a:solidFill>
                <a:effectLst/>
              </a:rPr>
              <a:t>"</a:t>
            </a:r>
            <a:r>
              <a:rPr lang="en-IN" sz="1200" b="1" dirty="0">
                <a:solidFill>
                  <a:schemeClr val="accent1"/>
                </a:solidFill>
              </a:rPr>
              <a:t>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successHandler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 err="1">
                <a:solidFill>
                  <a:schemeClr val="accent1"/>
                </a:solidFill>
              </a:rPr>
              <a:t>customSuccessHandler</a:t>
            </a:r>
            <a:r>
              <a:rPr lang="en-IN" sz="1200" b="1" dirty="0">
                <a:solidFill>
                  <a:schemeClr val="accent1"/>
                </a:solidFill>
              </a:rPr>
              <a:t>()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.and(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logout(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logoutUrl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>
                <a:solidFill>
                  <a:schemeClr val="accent1"/>
                </a:solidFill>
                <a:effectLst/>
              </a:rPr>
              <a:t>"/my/logout"</a:t>
            </a:r>
            <a:r>
              <a:rPr lang="en-IN" sz="1200" b="1" dirty="0">
                <a:solidFill>
                  <a:schemeClr val="accent1"/>
                </a:solidFill>
              </a:rPr>
              <a:t>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logoutSuccessUrl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>
                <a:solidFill>
                  <a:schemeClr val="accent1"/>
                </a:solidFill>
                <a:effectLst/>
              </a:rPr>
              <a:t>"/my/index"</a:t>
            </a:r>
            <a:r>
              <a:rPr lang="en-IN" sz="1200" b="1" dirty="0">
                <a:solidFill>
                  <a:schemeClr val="accent1"/>
                </a:solidFill>
              </a:rPr>
              <a:t>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logoutSuccessHandler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 err="1">
                <a:solidFill>
                  <a:schemeClr val="accent1"/>
                </a:solidFill>
              </a:rPr>
              <a:t>logoutSuccessHandler</a:t>
            </a:r>
            <a:r>
              <a:rPr lang="en-IN" sz="1200" b="1" dirty="0">
                <a:solidFill>
                  <a:schemeClr val="accent1"/>
                </a:solidFill>
              </a:rPr>
              <a:t>()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>
                <a:solidFill>
                  <a:schemeClr val="accent1"/>
                </a:solidFill>
              </a:rPr>
              <a:t>            .</a:t>
            </a:r>
            <a:r>
              <a:rPr lang="en-IN" sz="1200" b="1" dirty="0" err="1">
                <a:solidFill>
                  <a:schemeClr val="accent1"/>
                </a:solidFill>
              </a:rPr>
              <a:t>invalidateHttpSession</a:t>
            </a:r>
            <a:r>
              <a:rPr lang="en-IN" sz="1200" b="1" dirty="0">
                <a:solidFill>
                  <a:schemeClr val="accent1"/>
                </a:solidFill>
              </a:rPr>
              <a:t>(</a:t>
            </a:r>
            <a:r>
              <a:rPr lang="en-IN" sz="1200" b="1" dirty="0">
                <a:solidFill>
                  <a:schemeClr val="accent1"/>
                </a:solidFill>
                <a:effectLst/>
              </a:rPr>
              <a:t>true</a:t>
            </a:r>
            <a:r>
              <a:rPr lang="en-IN" sz="1200" b="1" dirty="0">
                <a:solidFill>
                  <a:schemeClr val="accent1"/>
                </a:solidFill>
              </a:rPr>
              <a:t>)</a:t>
            </a:r>
            <a:br>
              <a:rPr lang="en-IN" sz="1200" b="1" dirty="0">
                <a:solidFill>
                  <a:schemeClr val="accent1"/>
                </a:solidFill>
              </a:rPr>
            </a:br>
            <a:r>
              <a:rPr lang="en-IN" sz="1200" b="1" dirty="0"/>
              <a:t>        .and()</a:t>
            </a:r>
            <a:br>
              <a:rPr lang="en-IN" sz="1200" b="1" dirty="0"/>
            </a:br>
            <a:r>
              <a:rPr lang="en-IN" sz="1200" b="1" dirty="0"/>
              <a:t>            .</a:t>
            </a:r>
            <a:r>
              <a:rPr lang="en-IN" sz="1200" b="1" dirty="0" err="1"/>
              <a:t>authorizeRequests</a:t>
            </a:r>
            <a:r>
              <a:rPr lang="en-IN" sz="1200" b="1" dirty="0"/>
              <a:t>()</a:t>
            </a:r>
            <a:br>
              <a:rPr lang="en-IN" sz="1200" b="1" dirty="0"/>
            </a:br>
            <a:r>
              <a:rPr lang="en-IN" sz="1200" b="1" dirty="0"/>
              <a:t>                .</a:t>
            </a:r>
            <a:r>
              <a:rPr lang="en-IN" sz="1200" b="1" dirty="0" err="1"/>
              <a:t>mvcMatchers</a:t>
            </a:r>
            <a:r>
              <a:rPr lang="en-IN" sz="1200" b="1" dirty="0"/>
              <a:t>(</a:t>
            </a:r>
            <a:r>
              <a:rPr lang="en-IN" sz="1200" b="1" dirty="0">
                <a:solidFill>
                  <a:srgbClr val="6A8759"/>
                </a:solidFill>
                <a:effectLst/>
              </a:rPr>
              <a:t>"/home/products"</a:t>
            </a:r>
            <a:r>
              <a:rPr lang="en-IN" sz="1200" b="1" dirty="0"/>
              <a:t>).</a:t>
            </a:r>
            <a:r>
              <a:rPr lang="en-IN" sz="1200" b="1" dirty="0" err="1"/>
              <a:t>hasRole</a:t>
            </a:r>
            <a:r>
              <a:rPr lang="en-IN" sz="1200" b="1" dirty="0"/>
              <a:t>( </a:t>
            </a:r>
            <a:r>
              <a:rPr lang="en-IN" sz="1200" b="1" dirty="0">
                <a:solidFill>
                  <a:srgbClr val="6A8759"/>
                </a:solidFill>
                <a:effectLst/>
              </a:rPr>
              <a:t>"ADMIN"</a:t>
            </a:r>
            <a:r>
              <a:rPr lang="en-IN" sz="1200" b="1" dirty="0"/>
              <a:t>)</a:t>
            </a:r>
            <a:br>
              <a:rPr lang="en-IN" sz="1200" b="1" dirty="0"/>
            </a:br>
            <a:r>
              <a:rPr lang="en-IN" sz="1200" b="1" dirty="0"/>
              <a:t>                .</a:t>
            </a:r>
            <a:r>
              <a:rPr lang="en-IN" sz="1200" b="1" dirty="0" err="1"/>
              <a:t>mvcMatchers</a:t>
            </a:r>
            <a:r>
              <a:rPr lang="en-IN" sz="1200" b="1" dirty="0"/>
              <a:t>(</a:t>
            </a:r>
            <a:r>
              <a:rPr lang="en-IN" sz="1200" b="1" dirty="0">
                <a:solidFill>
                  <a:srgbClr val="6A8759"/>
                </a:solidFill>
                <a:effectLst/>
              </a:rPr>
              <a:t>"/home"</a:t>
            </a:r>
            <a:r>
              <a:rPr lang="en-IN" sz="1200" b="1" dirty="0"/>
              <a:t>).</a:t>
            </a:r>
            <a:r>
              <a:rPr lang="en-IN" sz="1200" b="1" dirty="0" err="1"/>
              <a:t>hasAnyRole</a:t>
            </a:r>
            <a:r>
              <a:rPr lang="en-IN" sz="1200" b="1" dirty="0"/>
              <a:t>(</a:t>
            </a:r>
            <a:r>
              <a:rPr lang="en-IN" sz="1200" b="1" dirty="0">
                <a:solidFill>
                  <a:srgbClr val="6A8759"/>
                </a:solidFill>
                <a:effectLst/>
              </a:rPr>
              <a:t>"USER"</a:t>
            </a:r>
            <a:r>
              <a:rPr lang="en-IN" sz="1200" b="1" dirty="0">
                <a:solidFill>
                  <a:srgbClr val="CC7832"/>
                </a:solidFill>
                <a:effectLst/>
              </a:rPr>
              <a:t>, </a:t>
            </a:r>
            <a:r>
              <a:rPr lang="en-IN" sz="1200" b="1" dirty="0">
                <a:solidFill>
                  <a:srgbClr val="6A8759"/>
                </a:solidFill>
                <a:effectLst/>
              </a:rPr>
              <a:t>"ADMIN"</a:t>
            </a:r>
            <a:r>
              <a:rPr lang="en-IN" sz="1200" b="1" dirty="0"/>
              <a:t>)</a:t>
            </a:r>
            <a:br>
              <a:rPr lang="en-IN" sz="1200" b="1" dirty="0"/>
            </a:br>
            <a:r>
              <a:rPr lang="en-IN" sz="1200" b="1" dirty="0"/>
              <a:t>        </a:t>
            </a:r>
            <a:r>
              <a:rPr lang="en-IN" sz="1200" b="1" dirty="0">
                <a:solidFill>
                  <a:srgbClr val="C00000"/>
                </a:solidFill>
              </a:rPr>
              <a:t>.and()</a:t>
            </a:r>
            <a:br>
              <a:rPr lang="en-IN" sz="1200" b="1" dirty="0">
                <a:solidFill>
                  <a:srgbClr val="C00000"/>
                </a:solidFill>
              </a:rPr>
            </a:br>
            <a:r>
              <a:rPr lang="en-IN" sz="1200" b="1" dirty="0">
                <a:solidFill>
                  <a:srgbClr val="C00000"/>
                </a:solidFill>
              </a:rPr>
              <a:t>            .</a:t>
            </a:r>
            <a:r>
              <a:rPr lang="en-IN" sz="1200" b="1" dirty="0" err="1">
                <a:solidFill>
                  <a:srgbClr val="C00000"/>
                </a:solidFill>
              </a:rPr>
              <a:t>cors</a:t>
            </a:r>
            <a:r>
              <a:rPr lang="en-IN" sz="1200" b="1" dirty="0">
                <a:solidFill>
                  <a:srgbClr val="C00000"/>
                </a:solidFill>
              </a:rPr>
              <a:t>().disable()</a:t>
            </a:r>
            <a:br>
              <a:rPr lang="en-IN" sz="1200" b="1" dirty="0">
                <a:solidFill>
                  <a:srgbClr val="C00000"/>
                </a:solidFill>
              </a:rPr>
            </a:br>
            <a:r>
              <a:rPr lang="en-IN" sz="1200" b="1" dirty="0">
                <a:solidFill>
                  <a:srgbClr val="C00000"/>
                </a:solidFill>
              </a:rPr>
              <a:t>            .</a:t>
            </a:r>
            <a:r>
              <a:rPr lang="en-IN" sz="1200" b="1" dirty="0" err="1">
                <a:solidFill>
                  <a:srgbClr val="C00000"/>
                </a:solidFill>
              </a:rPr>
              <a:t>csrf</a:t>
            </a:r>
            <a:r>
              <a:rPr lang="en-IN" sz="1200" b="1" dirty="0">
                <a:solidFill>
                  <a:srgbClr val="C00000"/>
                </a:solidFill>
              </a:rPr>
              <a:t>().disable()</a:t>
            </a:r>
            <a:br>
              <a:rPr lang="en-IN" sz="1200" b="1" dirty="0">
                <a:solidFill>
                  <a:srgbClr val="C00000"/>
                </a:solidFill>
              </a:rPr>
            </a:br>
            <a:r>
              <a:rPr lang="en-IN" sz="1200" b="1" dirty="0"/>
              <a:t>        </a:t>
            </a:r>
            <a:r>
              <a:rPr lang="en-IN" sz="1200" b="1" dirty="0">
                <a:solidFill>
                  <a:srgbClr val="7030A0"/>
                </a:solidFill>
              </a:rPr>
              <a:t>.</a:t>
            </a:r>
            <a:r>
              <a:rPr lang="en-IN" sz="1200" b="1" dirty="0" err="1">
                <a:solidFill>
                  <a:srgbClr val="7030A0"/>
                </a:solidFill>
              </a:rPr>
              <a:t>exceptionHandling</a:t>
            </a:r>
            <a:r>
              <a:rPr lang="en-IN" sz="1200" b="1" dirty="0">
                <a:solidFill>
                  <a:srgbClr val="7030A0"/>
                </a:solidFill>
              </a:rPr>
              <a:t>()</a:t>
            </a:r>
            <a:br>
              <a:rPr lang="en-IN" sz="1200" b="1" dirty="0">
                <a:solidFill>
                  <a:srgbClr val="7030A0"/>
                </a:solidFill>
              </a:rPr>
            </a:br>
            <a:r>
              <a:rPr lang="en-IN" sz="1200" b="1" dirty="0">
                <a:solidFill>
                  <a:srgbClr val="7030A0"/>
                </a:solidFill>
              </a:rPr>
              <a:t>        	.</a:t>
            </a:r>
            <a:r>
              <a:rPr lang="en-IN" sz="1200" b="1" dirty="0" err="1">
                <a:solidFill>
                  <a:srgbClr val="7030A0"/>
                </a:solidFill>
              </a:rPr>
              <a:t>accessDeniedHandler</a:t>
            </a:r>
            <a:r>
              <a:rPr lang="en-IN" sz="1200" b="1" dirty="0">
                <a:solidFill>
                  <a:srgbClr val="7030A0"/>
                </a:solidFill>
              </a:rPr>
              <a:t>(</a:t>
            </a:r>
            <a:r>
              <a:rPr lang="en-IN" sz="1200" b="1" dirty="0">
                <a:solidFill>
                  <a:srgbClr val="7030A0"/>
                </a:solidFill>
                <a:effectLst/>
              </a:rPr>
              <a:t>new </a:t>
            </a:r>
            <a:r>
              <a:rPr lang="en-IN" sz="1200" b="1" dirty="0" err="1">
                <a:solidFill>
                  <a:srgbClr val="7030A0"/>
                </a:solidFill>
              </a:rPr>
              <a:t>CustomAccessDeniedHandler</a:t>
            </a:r>
            <a:r>
              <a:rPr lang="en-IN" sz="1200" b="1" dirty="0">
                <a:solidFill>
                  <a:srgbClr val="7030A0"/>
                </a:solidFill>
              </a:rPr>
              <a:t>())</a:t>
            </a:r>
            <a:br>
              <a:rPr lang="en-IN" sz="1200" b="1" dirty="0"/>
            </a:br>
            <a:r>
              <a:rPr lang="en-IN" sz="1200" b="1" dirty="0"/>
              <a:t>        .build()</a:t>
            </a:r>
            <a:r>
              <a:rPr lang="en-IN" sz="1200" b="1" dirty="0">
                <a:solidFill>
                  <a:srgbClr val="CC7832"/>
                </a:solidFill>
                <a:effectLst/>
              </a:rPr>
              <a:t>;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658487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35194EB-E9FF-EF42-A841-1184DCC6E3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81DEC10-536A-4346-88DB-A2C648D3E2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EB3CF56-E71B-8040-9FEF-172C76CAAD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601A018-6DEB-2048-B138-449B7D3D79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3998E5E-ED49-B948-8274-C7E1CF49DF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39BABF1-7229-1245-B8B5-F3791BAEB7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989575B-C607-BE45-A585-C6E3909027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4B671CE-BC98-D54B-A148-8F65680182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F80C7DB-0A76-BB47-8345-84E2C92ED6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EB2547F-FF5C-1F4A-B534-A524B2D0FF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23A5AD9-DC34-A246-A6D8-FFA432D6D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4805215-FB81-BB49-8478-239BAA09B3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7C8577C-2B8A-0541-B0AB-A1033B7B2E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CC2557-EA3C-8E35-8D68-7332AAB2BC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uthentication</a:t>
            </a:r>
          </a:p>
        </p:txBody>
      </p:sp>
      <p:graphicFrame>
        <p:nvGraphicFramePr>
          <p:cNvPr id="6" name="Content Placeholder 8">
            <a:extLst>
              <a:ext uri="{FF2B5EF4-FFF2-40B4-BE49-F238E27FC236}">
                <a16:creationId xmlns:a16="http://schemas.microsoft.com/office/drawing/2014/main" id="{850AFD52-4E6C-2378-2A06-758469343F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3308804"/>
              </p:ext>
            </p:extLst>
          </p:nvPr>
        </p:nvGraphicFramePr>
        <p:xfrm>
          <a:off x="407988" y="3227118"/>
          <a:ext cx="3626922" cy="274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2030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 Template_2018_v3" id="{7278A2AE-4223-442C-A0C5-E45FABBA1215}" vid="{F7E055ED-6AB1-43F9-BF77-7175F72F91ED}"/>
    </a:ext>
  </a:extLst>
</a:theme>
</file>

<file path=ppt/theme/theme2.xml><?xml version="1.0" encoding="utf-8"?>
<a:theme xmlns:a="http://schemas.openxmlformats.org/drawingml/2006/main" name="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 Template_2018_v3" id="{7278A2AE-4223-442C-A0C5-E45FABBA1215}" vid="{91778B23-AA72-4A33-84C0-F8F8637DBDEA}"/>
    </a:ext>
  </a:extLst>
</a:theme>
</file>

<file path=ppt/theme/theme3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4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 Template_2018_v3" id="{7278A2AE-4223-442C-A0C5-E45FABBA1215}" vid="{F6865D72-1A08-4312-9EED-8998F572E7A5}"/>
    </a:ext>
  </a:extLst>
</a:theme>
</file>

<file path=ppt/theme/theme5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58F1797DA1064B8EB5DE7FA1342867" ma:contentTypeVersion="4" ma:contentTypeDescription="Create a new document." ma:contentTypeScope="" ma:versionID="36b2233b14005313513976be24c9b068">
  <xsd:schema xmlns:xsd="http://www.w3.org/2001/XMLSchema" xmlns:xs="http://www.w3.org/2001/XMLSchema" xmlns:p="http://schemas.microsoft.com/office/2006/metadata/properties" xmlns:ns2="a4940fb2-ca28-4b3e-bde4-d77de0a6613f" targetNamespace="http://schemas.microsoft.com/office/2006/metadata/properties" ma:root="true" ma:fieldsID="c563daba8514a04209970894c2b290b3" ns2:_="">
    <xsd:import namespace="a4940fb2-ca28-4b3e-bde4-d77de0a661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940fb2-ca28-4b3e-bde4-d77de0a661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F2E62D-C989-4333-94AF-C345488A3CF9}">
  <ds:schemaRefs>
    <ds:schemaRef ds:uri="a4940fb2-ca28-4b3e-bde4-d77de0a6613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54C74FB-06A2-4C0B-BF52-9BE07C678337}">
  <ds:schemaRefs>
    <ds:schemaRef ds:uri="http://schemas.microsoft.com/office/2006/metadata/properties"/>
    <ds:schemaRef ds:uri="http://purl.org/dc/terms/"/>
    <ds:schemaRef ds:uri="http://www.w3.org/XML/1998/namespace"/>
    <ds:schemaRef ds:uri="a4940fb2-ca28-4b3e-bde4-d77de0a6613f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B9FD767-5C58-4817-AACF-6EC08BF697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 Template_2018_v3</Template>
  <TotalTime>2742</TotalTime>
  <Words>927</Words>
  <Application>Microsoft Macintosh PowerPoint</Application>
  <PresentationFormat>Widescreen</PresentationFormat>
  <Paragraphs>273</Paragraphs>
  <Slides>21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-apple-system</vt:lpstr>
      <vt:lpstr>Arial</vt:lpstr>
      <vt:lpstr>Calibri</vt:lpstr>
      <vt:lpstr>Lato</vt:lpstr>
      <vt:lpstr>Verdana</vt:lpstr>
      <vt:lpstr>Wingdings</vt:lpstr>
      <vt:lpstr>Content Layouts</vt:lpstr>
      <vt:lpstr>Cover slides</vt:lpstr>
      <vt:lpstr>Cover options</vt:lpstr>
      <vt:lpstr>Section slides</vt:lpstr>
      <vt:lpstr>Closing options</vt:lpstr>
      <vt:lpstr>think-cell Slide</vt:lpstr>
      <vt:lpstr>PowerPoint Presentation</vt:lpstr>
      <vt:lpstr>Agenda</vt:lpstr>
      <vt:lpstr>Features</vt:lpstr>
      <vt:lpstr>PowerPoint Presentation</vt:lpstr>
      <vt:lpstr>Filter Recap</vt:lpstr>
      <vt:lpstr>High Level Architecture</vt:lpstr>
      <vt:lpstr>PowerPoint Presentation</vt:lpstr>
      <vt:lpstr>SecurityFilterChain: Configurations</vt:lpstr>
      <vt:lpstr>PowerPoint Presentation</vt:lpstr>
      <vt:lpstr>Authentication Flow</vt:lpstr>
      <vt:lpstr>Authentication Architecture</vt:lpstr>
      <vt:lpstr>Demo</vt:lpstr>
      <vt:lpstr>PowerPoint Presentation</vt:lpstr>
      <vt:lpstr>Authorization Flow</vt:lpstr>
      <vt:lpstr>Authorization Flow</vt:lpstr>
      <vt:lpstr>Authorization Layers</vt:lpstr>
      <vt:lpstr>Demo</vt:lpstr>
      <vt:lpstr>PowerPoint Presentation</vt:lpstr>
      <vt:lpstr>Security Threats</vt:lpstr>
      <vt:lpstr>Links</vt:lpstr>
      <vt:lpstr>Questions &amp; Feedback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Capgemini</dc:creator>
  <cp:lastModifiedBy>Shinde, Vishal</cp:lastModifiedBy>
  <cp:revision>112</cp:revision>
  <dcterms:created xsi:type="dcterms:W3CDTF">2018-08-28T03:21:59Z</dcterms:created>
  <dcterms:modified xsi:type="dcterms:W3CDTF">2022-11-16T15:5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58F1797DA1064B8EB5DE7FA1342867</vt:lpwstr>
  </property>
</Properties>
</file>